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454" r:id="rId2"/>
    <p:sldId id="574" r:id="rId3"/>
    <p:sldId id="575" r:id="rId4"/>
  </p:sldIdLst>
  <p:sldSz cx="9144000" cy="6858000" type="screen4x3"/>
  <p:notesSz cx="6797675" cy="9928225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1A78E38A-4DD6-4BE6-A090-F2EF4EB02EB7}">
          <p14:sldIdLst>
            <p14:sldId id="454"/>
            <p14:sldId id="574"/>
            <p14:sldId id="57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004">
          <p15:clr>
            <a:srgbClr val="A4A3A4"/>
          </p15:clr>
        </p15:guide>
        <p15:guide id="2" orient="horz" pos="981">
          <p15:clr>
            <a:srgbClr val="A4A3A4"/>
          </p15:clr>
        </p15:guide>
        <p15:guide id="3" pos="204">
          <p15:clr>
            <a:srgbClr val="A4A3A4"/>
          </p15:clr>
        </p15:guide>
        <p15:guide id="4" pos="5556">
          <p15:clr>
            <a:srgbClr val="A4A3A4"/>
          </p15:clr>
        </p15:guide>
        <p15:guide id="5" pos="2948">
          <p15:clr>
            <a:srgbClr val="A4A3A4"/>
          </p15:clr>
        </p15:guide>
        <p15:guide id="6" pos="2880">
          <p15:clr>
            <a:srgbClr val="A4A3A4"/>
          </p15:clr>
        </p15:guide>
        <p15:guide id="7" pos="2812">
          <p15:clr>
            <a:srgbClr val="A4A3A4"/>
          </p15:clr>
        </p15:guide>
        <p15:guide id="8" orient="horz" pos="40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4091">
          <p15:clr>
            <a:srgbClr val="A4A3A4"/>
          </p15:clr>
        </p15:guide>
        <p15:guide id="3" pos="19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AD0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61" autoAdjust="0"/>
    <p:restoredTop sz="96547" autoAdjust="0"/>
  </p:normalViewPr>
  <p:slideViewPr>
    <p:cSldViewPr snapToGrid="0" snapToObjects="1" showGuides="1">
      <p:cViewPr varScale="1">
        <p:scale>
          <a:sx n="82" d="100"/>
          <a:sy n="82" d="100"/>
        </p:scale>
        <p:origin x="1032" y="67"/>
      </p:cViewPr>
      <p:guideLst>
        <p:guide orient="horz" pos="4004"/>
        <p:guide orient="horz" pos="981"/>
        <p:guide pos="204"/>
        <p:guide pos="5556"/>
        <p:guide pos="2948"/>
        <p:guide pos="2880"/>
        <p:guide pos="2812"/>
        <p:guide orient="horz" pos="402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6" d="100"/>
        <a:sy n="66" d="100"/>
      </p:scale>
      <p:origin x="0" y="6427"/>
    </p:cViewPr>
  </p:sorterViewPr>
  <p:notesViewPr>
    <p:cSldViewPr snapToGrid="0" snapToObjects="1" showGuides="1">
      <p:cViewPr varScale="1">
        <p:scale>
          <a:sx n="79" d="100"/>
          <a:sy n="79" d="100"/>
        </p:scale>
        <p:origin x="-3984" y="-84"/>
      </p:cViewPr>
      <p:guideLst>
        <p:guide orient="horz" pos="3127"/>
        <p:guide pos="4091"/>
        <p:guide pos="19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2"/>
          <p:cNvSpPr>
            <a:spLocks noGrp="1"/>
          </p:cNvSpPr>
          <p:nvPr>
            <p:ph type="dt" idx="1"/>
          </p:nvPr>
        </p:nvSpPr>
        <p:spPr>
          <a:xfrm>
            <a:off x="302494" y="9555957"/>
            <a:ext cx="612068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fld id="{4AB5667C-C972-4708-99DF-FD114A50B075}" type="datetimeFigureOut">
              <a:rPr lang="de-DE" smtClean="0"/>
              <a:pPr/>
              <a:t>07.11.2017</a:t>
            </a:fld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302494" y="9731504"/>
            <a:ext cx="612068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r>
              <a:rPr lang="de-DE" dirty="0"/>
              <a:t>Seite </a:t>
            </a:r>
            <a:fld id="{D17F8F6D-B690-4D04-894B-7B6DA8CD11CA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0" y="9490007"/>
            <a:ext cx="6797675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063133" y="9581661"/>
            <a:ext cx="431759" cy="242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02452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02494" y="9555957"/>
            <a:ext cx="612068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fld id="{4AB5667C-C972-4708-99DF-FD114A50B075}" type="datetimeFigureOut">
              <a:rPr lang="de-DE" smtClean="0"/>
              <a:pPr/>
              <a:t>07.11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02494" y="9731504"/>
            <a:ext cx="612068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r>
              <a:rPr lang="de-DE" dirty="0"/>
              <a:t>Seite </a:t>
            </a:r>
            <a:fld id="{D17F8F6D-B690-4D04-894B-7B6DA8CD11CA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0" y="9490007"/>
            <a:ext cx="6797675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063133" y="9581661"/>
            <a:ext cx="431759" cy="242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6132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400" b="1" kern="1200">
        <a:solidFill>
          <a:schemeClr val="accent3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Bef>
        <a:spcPts val="800"/>
      </a:spcBef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80975" indent="-180975" algn="l" defTabSz="914400" rtl="0" eaLnBrk="1" latinLnBrk="0" hangingPunct="1">
      <a:spcBef>
        <a:spcPts val="600"/>
      </a:spcBef>
      <a:buClr>
        <a:schemeClr val="accent2"/>
      </a:buClr>
      <a:buFont typeface="Wingdings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360363" indent="-179388" algn="l" defTabSz="914400" rtl="0" eaLnBrk="1" latinLnBrk="0" hangingPunct="1">
      <a:spcBef>
        <a:spcPts val="300"/>
      </a:spcBef>
      <a:buClr>
        <a:schemeClr val="accent3"/>
      </a:buClr>
      <a:buFont typeface="Symbol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541338" indent="-180975" algn="l" defTabSz="914400" rtl="0" eaLnBrk="1" latinLnBrk="0" hangingPunct="1">
      <a:spcBef>
        <a:spcPts val="300"/>
      </a:spcBef>
      <a:buClr>
        <a:schemeClr val="accent3"/>
      </a:buClr>
      <a:buFont typeface="Symbol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8089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887"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uppieren 18"/>
          <p:cNvGrpSpPr/>
          <p:nvPr userDrawn="1"/>
        </p:nvGrpSpPr>
        <p:grpSpPr>
          <a:xfrm>
            <a:off x="-180528" y="-184891"/>
            <a:ext cx="9505056" cy="7214285"/>
            <a:chOff x="-180528" y="-184891"/>
            <a:chExt cx="9505056" cy="7214285"/>
          </a:xfrm>
        </p:grpSpPr>
        <p:cxnSp>
          <p:nvCxnSpPr>
            <p:cNvPr id="20" name="Gerade Verbindung 19"/>
            <p:cNvCxnSpPr/>
            <p:nvPr/>
          </p:nvCxnSpPr>
          <p:spPr bwMode="gray">
            <a:xfrm>
              <a:off x="314197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 bwMode="gray">
            <a:xfrm>
              <a:off x="4459737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 bwMode="gray">
            <a:xfrm>
              <a:off x="456774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/>
          </p:nvCxnSpPr>
          <p:spPr bwMode="gray">
            <a:xfrm>
              <a:off x="4675761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/>
          </p:nvCxnSpPr>
          <p:spPr bwMode="gray">
            <a:xfrm>
              <a:off x="8811141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 bwMode="gray">
            <a:xfrm>
              <a:off x="314197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/>
          </p:nvCxnSpPr>
          <p:spPr bwMode="gray">
            <a:xfrm>
              <a:off x="4459737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/>
          </p:nvCxnSpPr>
          <p:spPr bwMode="gray">
            <a:xfrm>
              <a:off x="456774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 bwMode="gray">
            <a:xfrm>
              <a:off x="4675761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/>
          </p:nvCxnSpPr>
          <p:spPr bwMode="gray">
            <a:xfrm>
              <a:off x="8811141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/>
          </p:nvCxnSpPr>
          <p:spPr bwMode="gray">
            <a:xfrm rot="16200000">
              <a:off x="-108528" y="1475462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/>
          </p:nvCxnSpPr>
          <p:spPr bwMode="gray">
            <a:xfrm rot="16200000">
              <a:off x="-108528" y="629980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/>
          </p:nvCxnSpPr>
          <p:spPr bwMode="gray">
            <a:xfrm rot="16200000">
              <a:off x="9252528" y="1475463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/>
          </p:nvCxnSpPr>
          <p:spPr bwMode="gray">
            <a:xfrm rot="16200000">
              <a:off x="9252528" y="629980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Bildplatzhalter 2"/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9144000" cy="6858000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gray">
          <a:xfrm>
            <a:off x="314197" y="1339200"/>
            <a:ext cx="4145540" cy="2031325"/>
          </a:xfrm>
        </p:spPr>
        <p:txBody>
          <a:bodyPr vert="horz" wrap="square" lIns="0" tIns="72000" rIns="0" bIns="0" rtlCol="0" anchor="t" anchorCtr="0">
            <a:noAutofit/>
          </a:bodyPr>
          <a:lstStyle>
            <a:lvl1pPr>
              <a:defRPr lang="de-DE" sz="440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Textmasterformat bearbeiten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9252528" y="450570"/>
            <a:ext cx="2124228" cy="160429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180000" indent="-180000" algn="l">
              <a:spcBef>
                <a:spcPts val="8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chemeClr val="bg1"/>
                </a:solidFill>
              </a:rPr>
              <a:t>Bitte nur Bilder auswählen,</a:t>
            </a:r>
            <a:br>
              <a:rPr lang="de-DE" sz="1000" baseline="0" dirty="0">
                <a:solidFill>
                  <a:schemeClr val="bg1"/>
                </a:solidFill>
              </a:rPr>
            </a:br>
            <a:r>
              <a:rPr lang="de-DE" sz="1000" baseline="0" dirty="0">
                <a:solidFill>
                  <a:schemeClr val="bg1"/>
                </a:solidFill>
              </a:rPr>
              <a:t>bei denen der Text auf einem ruhigen Hintergrund mit einem ausreichenden Kontrast stehen kann.</a:t>
            </a:r>
          </a:p>
          <a:p>
            <a:pPr marL="180000" indent="-180000" algn="l">
              <a:spcBef>
                <a:spcPts val="8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de-DE" sz="1000" dirty="0">
                <a:solidFill>
                  <a:schemeClr val="bg1"/>
                </a:solidFill>
              </a:rPr>
              <a:t>Falls der Text</a:t>
            </a:r>
            <a:r>
              <a:rPr lang="de-DE" sz="1000" baseline="0" dirty="0">
                <a:solidFill>
                  <a:schemeClr val="bg1"/>
                </a:solidFill>
              </a:rPr>
              <a:t> auf dem Bild nur schlecht zu lesen ist, kann er innerhalb des Rasters verschoben werden.</a:t>
            </a:r>
            <a:endParaRPr lang="de-DE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853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 / Text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84638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840"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uppieren 24"/>
          <p:cNvGrpSpPr/>
          <p:nvPr userDrawn="1"/>
        </p:nvGrpSpPr>
        <p:grpSpPr>
          <a:xfrm>
            <a:off x="-180528" y="-184891"/>
            <a:ext cx="9505056" cy="7214285"/>
            <a:chOff x="-180528" y="-184891"/>
            <a:chExt cx="9505056" cy="7214285"/>
          </a:xfrm>
        </p:grpSpPr>
        <p:cxnSp>
          <p:nvCxnSpPr>
            <p:cNvPr id="26" name="Gerade Verbindung 25"/>
            <p:cNvCxnSpPr/>
            <p:nvPr/>
          </p:nvCxnSpPr>
          <p:spPr bwMode="gray">
            <a:xfrm>
              <a:off x="314197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 bwMode="gray">
            <a:xfrm>
              <a:off x="4459737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 bwMode="gray">
            <a:xfrm>
              <a:off x="456774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/>
          </p:nvCxnSpPr>
          <p:spPr bwMode="gray">
            <a:xfrm>
              <a:off x="4675761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/>
          </p:nvCxnSpPr>
          <p:spPr bwMode="gray">
            <a:xfrm>
              <a:off x="8811141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/>
          </p:nvCxnSpPr>
          <p:spPr bwMode="gray">
            <a:xfrm>
              <a:off x="314197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 bwMode="gray">
            <a:xfrm>
              <a:off x="4459737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 bwMode="gray">
            <a:xfrm>
              <a:off x="456774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/>
          </p:nvCxnSpPr>
          <p:spPr bwMode="gray">
            <a:xfrm>
              <a:off x="4675761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 bwMode="gray">
            <a:xfrm>
              <a:off x="8811141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/>
          </p:nvCxnSpPr>
          <p:spPr bwMode="gray">
            <a:xfrm rot="16200000">
              <a:off x="-108528" y="1475462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/>
          </p:nvCxnSpPr>
          <p:spPr bwMode="gray">
            <a:xfrm rot="16200000">
              <a:off x="-108528" y="629980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 bwMode="gray">
            <a:xfrm rot="16200000">
              <a:off x="9252528" y="1475463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/>
          </p:nvCxnSpPr>
          <p:spPr bwMode="gray">
            <a:xfrm rot="16200000">
              <a:off x="9252528" y="629980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uppieren 10"/>
          <p:cNvGrpSpPr/>
          <p:nvPr userDrawn="1"/>
        </p:nvGrpSpPr>
        <p:grpSpPr bwMode="gray">
          <a:xfrm>
            <a:off x="323528" y="-219395"/>
            <a:ext cx="8496944" cy="7296789"/>
            <a:chOff x="323528" y="-164554"/>
            <a:chExt cx="8496944" cy="5472592"/>
          </a:xfrm>
        </p:grpSpPr>
        <p:cxnSp>
          <p:nvCxnSpPr>
            <p:cNvPr id="12" name="Gerade Verbindung 11"/>
            <p:cNvCxnSpPr/>
            <p:nvPr userDrawn="1"/>
          </p:nvCxnSpPr>
          <p:spPr bwMode="gray">
            <a:xfrm>
              <a:off x="323528" y="-16455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 bwMode="gray">
            <a:xfrm>
              <a:off x="4463988" y="-16455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>
              <a:off x="4572000" y="-16455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>
              <a:off x="4680012" y="-16455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>
              <a:off x="8820472" y="-16455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>
              <a:off x="323528" y="5164038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>
              <a:off x="4463988" y="5164038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4572000" y="5164038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4680012" y="5164038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>
              <a:off x="8820472" y="5164038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Bildplatzhalter 2"/>
          <p:cNvSpPr>
            <a:spLocks noGrp="1"/>
          </p:cNvSpPr>
          <p:nvPr>
            <p:ph type="pic" sz="quarter" idx="11"/>
          </p:nvPr>
        </p:nvSpPr>
        <p:spPr bwMode="gray">
          <a:xfrm>
            <a:off x="0" y="-1"/>
            <a:ext cx="9144000" cy="6501342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endParaRPr lang="en-US" dirty="0"/>
          </a:p>
        </p:txBody>
      </p:sp>
      <p:sp>
        <p:nvSpPr>
          <p:cNvPr id="23" name="Textplatzhalter 11"/>
          <p:cNvSpPr>
            <a:spLocks noGrp="1"/>
          </p:cNvSpPr>
          <p:nvPr>
            <p:ph type="body" sz="quarter" idx="14"/>
          </p:nvPr>
        </p:nvSpPr>
        <p:spPr bwMode="gray">
          <a:xfrm>
            <a:off x="0" y="1559813"/>
            <a:ext cx="4043278" cy="514738"/>
          </a:xfrm>
          <a:solidFill>
            <a:schemeClr val="accent2"/>
          </a:solidFill>
        </p:spPr>
        <p:txBody>
          <a:bodyPr vert="horz" wrap="none" lIns="324000" tIns="72000" rIns="144000" bIns="72000" rtlCol="0" anchor="b" anchorCtr="0">
            <a:spAutoFit/>
          </a:bodyPr>
          <a:lstStyle>
            <a:lvl1pPr>
              <a:defRPr lang="de-DE" sz="24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dirty="0"/>
              <a:t>Textmasterformat bearbeiten</a:t>
            </a:r>
          </a:p>
        </p:txBody>
      </p:sp>
      <p:cxnSp>
        <p:nvCxnSpPr>
          <p:cNvPr id="24" name="Gerade Verbindung 23"/>
          <p:cNvCxnSpPr/>
          <p:nvPr userDrawn="1"/>
        </p:nvCxnSpPr>
        <p:spPr bwMode="gray">
          <a:xfrm>
            <a:off x="0" y="6501341"/>
            <a:ext cx="9144508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24472" y="6650930"/>
            <a:ext cx="39960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7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MAN SE  |  MAN Truck &amp; Bus AG  |  Johanns Varela  |  11.11.2016  |  IT-Projektmanagement</a:t>
            </a:r>
            <a:endParaRPr lang="de-DE" dirty="0"/>
          </a:p>
        </p:txBody>
      </p:sp>
      <p:sp>
        <p:nvSpPr>
          <p:cNvPr id="4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7255709" y="6650930"/>
            <a:ext cx="21602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7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067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Vollbild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38535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21"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uppieren 24"/>
          <p:cNvGrpSpPr/>
          <p:nvPr userDrawn="1"/>
        </p:nvGrpSpPr>
        <p:grpSpPr>
          <a:xfrm>
            <a:off x="-180528" y="-184891"/>
            <a:ext cx="9505056" cy="7214285"/>
            <a:chOff x="-180528" y="-184891"/>
            <a:chExt cx="9505056" cy="7214285"/>
          </a:xfrm>
        </p:grpSpPr>
        <p:cxnSp>
          <p:nvCxnSpPr>
            <p:cNvPr id="26" name="Gerade Verbindung 25"/>
            <p:cNvCxnSpPr/>
            <p:nvPr/>
          </p:nvCxnSpPr>
          <p:spPr bwMode="gray">
            <a:xfrm>
              <a:off x="314197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 bwMode="gray">
            <a:xfrm>
              <a:off x="4459737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 bwMode="gray">
            <a:xfrm>
              <a:off x="456774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/>
          </p:nvCxnSpPr>
          <p:spPr bwMode="gray">
            <a:xfrm>
              <a:off x="4675761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/>
          </p:nvCxnSpPr>
          <p:spPr bwMode="gray">
            <a:xfrm>
              <a:off x="8811141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/>
          </p:nvCxnSpPr>
          <p:spPr bwMode="gray">
            <a:xfrm>
              <a:off x="314197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 bwMode="gray">
            <a:xfrm>
              <a:off x="4459737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 bwMode="gray">
            <a:xfrm>
              <a:off x="456774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/>
          </p:nvCxnSpPr>
          <p:spPr bwMode="gray">
            <a:xfrm>
              <a:off x="4675761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 bwMode="gray">
            <a:xfrm>
              <a:off x="8811141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/>
          </p:nvCxnSpPr>
          <p:spPr bwMode="gray">
            <a:xfrm rot="16200000">
              <a:off x="-108528" y="1475462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/>
          </p:nvCxnSpPr>
          <p:spPr bwMode="gray">
            <a:xfrm rot="16200000">
              <a:off x="-108528" y="629980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 bwMode="gray">
            <a:xfrm rot="16200000">
              <a:off x="9252528" y="1475463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/>
          </p:nvCxnSpPr>
          <p:spPr bwMode="gray">
            <a:xfrm rot="16200000">
              <a:off x="9252528" y="629980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uppieren 10"/>
          <p:cNvGrpSpPr/>
          <p:nvPr userDrawn="1"/>
        </p:nvGrpSpPr>
        <p:grpSpPr bwMode="gray">
          <a:xfrm>
            <a:off x="323528" y="-219395"/>
            <a:ext cx="8496944" cy="7296789"/>
            <a:chOff x="323528" y="-164554"/>
            <a:chExt cx="8496944" cy="5472592"/>
          </a:xfrm>
        </p:grpSpPr>
        <p:cxnSp>
          <p:nvCxnSpPr>
            <p:cNvPr id="12" name="Gerade Verbindung 11"/>
            <p:cNvCxnSpPr/>
            <p:nvPr userDrawn="1"/>
          </p:nvCxnSpPr>
          <p:spPr bwMode="gray">
            <a:xfrm>
              <a:off x="323528" y="-16455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 bwMode="gray">
            <a:xfrm>
              <a:off x="4463988" y="-16455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>
              <a:off x="4572000" y="-16455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>
              <a:off x="4680012" y="-16455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>
              <a:off x="8820472" y="-16455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>
              <a:off x="323528" y="5164038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>
              <a:off x="4463988" y="5164038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4572000" y="5164038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4680012" y="5164038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>
              <a:off x="8820472" y="5164038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Bildplatzhalter 2"/>
          <p:cNvSpPr>
            <a:spLocks noGrp="1"/>
          </p:cNvSpPr>
          <p:nvPr>
            <p:ph type="pic" sz="quarter" idx="11"/>
          </p:nvPr>
        </p:nvSpPr>
        <p:spPr bwMode="gray">
          <a:xfrm>
            <a:off x="0" y="-1"/>
            <a:ext cx="6750242" cy="6501342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endParaRPr lang="en-US" dirty="0"/>
          </a:p>
        </p:txBody>
      </p:sp>
      <p:cxnSp>
        <p:nvCxnSpPr>
          <p:cNvPr id="24" name="Gerade Verbindung 23"/>
          <p:cNvCxnSpPr/>
          <p:nvPr userDrawn="1"/>
        </p:nvCxnSpPr>
        <p:spPr bwMode="gray">
          <a:xfrm>
            <a:off x="0" y="6501341"/>
            <a:ext cx="9144508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24472" y="6650930"/>
            <a:ext cx="39960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7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MAN SE  |  MAN Truck &amp; Bus AG  |  Johanns Varela  |  11.11.2016  |  IT-Projektmanagement</a:t>
            </a:r>
            <a:endParaRPr lang="de-DE" dirty="0"/>
          </a:p>
        </p:txBody>
      </p:sp>
      <p:sp>
        <p:nvSpPr>
          <p:cNvPr id="4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7255709" y="6650930"/>
            <a:ext cx="21602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7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732240" y="2726340"/>
            <a:ext cx="2088232" cy="1107996"/>
          </a:xfrm>
        </p:spPr>
        <p:txBody>
          <a:bodyPr lIns="108000"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6732240" y="4005064"/>
            <a:ext cx="2088000" cy="2366740"/>
          </a:xfrm>
        </p:spPr>
        <p:txBody>
          <a:bodyPr lIns="10800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1156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959640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9" name="think-cell Folie" r:id="rId4" imgW="287" imgH="287" progId="TCLayout.ActiveDocument.1">
                  <p:embed/>
                </p:oleObj>
              </mc:Choice>
              <mc:Fallback>
                <p:oleObj name="think-cell Folie" r:id="rId4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uppieren 23"/>
          <p:cNvGrpSpPr/>
          <p:nvPr userDrawn="1"/>
        </p:nvGrpSpPr>
        <p:grpSpPr>
          <a:xfrm>
            <a:off x="-180528" y="-184891"/>
            <a:ext cx="9505056" cy="7214285"/>
            <a:chOff x="-180528" y="-184891"/>
            <a:chExt cx="9505056" cy="7214285"/>
          </a:xfrm>
        </p:grpSpPr>
        <p:cxnSp>
          <p:nvCxnSpPr>
            <p:cNvPr id="25" name="Gerade Verbindung 24"/>
            <p:cNvCxnSpPr/>
            <p:nvPr/>
          </p:nvCxnSpPr>
          <p:spPr bwMode="gray">
            <a:xfrm>
              <a:off x="314197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 bwMode="gray">
            <a:xfrm>
              <a:off x="4459737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 bwMode="gray">
            <a:xfrm>
              <a:off x="456774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/>
          </p:nvCxnSpPr>
          <p:spPr bwMode="gray">
            <a:xfrm>
              <a:off x="4675761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/>
          </p:nvCxnSpPr>
          <p:spPr bwMode="gray">
            <a:xfrm>
              <a:off x="8811141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/>
          </p:nvCxnSpPr>
          <p:spPr bwMode="gray">
            <a:xfrm>
              <a:off x="314197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 bwMode="gray">
            <a:xfrm>
              <a:off x="4459737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/>
          </p:nvCxnSpPr>
          <p:spPr bwMode="gray">
            <a:xfrm>
              <a:off x="456774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/>
          </p:nvCxnSpPr>
          <p:spPr bwMode="gray">
            <a:xfrm>
              <a:off x="4675761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/>
          </p:nvCxnSpPr>
          <p:spPr bwMode="gray">
            <a:xfrm>
              <a:off x="8811141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/>
          </p:nvCxnSpPr>
          <p:spPr bwMode="gray">
            <a:xfrm rot="16200000">
              <a:off x="-108528" y="1475462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/>
          </p:nvCxnSpPr>
          <p:spPr bwMode="gray">
            <a:xfrm rot="16200000">
              <a:off x="-108528" y="629980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 bwMode="gray">
            <a:xfrm rot="16200000">
              <a:off x="9252528" y="1475463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/>
          </p:nvCxnSpPr>
          <p:spPr bwMode="gray">
            <a:xfrm rot="16200000">
              <a:off x="9252528" y="629980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Gleichschenkliges Dreieck 12"/>
          <p:cNvSpPr/>
          <p:nvPr userDrawn="1"/>
        </p:nvSpPr>
        <p:spPr bwMode="gray">
          <a:xfrm rot="5400000">
            <a:off x="5182835" y="2791172"/>
            <a:ext cx="242564" cy="108000"/>
          </a:xfrm>
          <a:prstGeom prst="triangle">
            <a:avLst/>
          </a:prstGeom>
          <a:solidFill>
            <a:srgbClr val="E4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5184068" y="0"/>
            <a:ext cx="72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80112" y="2608895"/>
            <a:ext cx="3240000" cy="984885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de-DE" dirty="0"/>
              <a:t>Platzhalter Präsentationstitel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80112" y="4965171"/>
            <a:ext cx="3240000" cy="246221"/>
          </a:xfrm>
        </p:spPr>
        <p:txBody>
          <a:bodyPr/>
          <a:lstStyle>
            <a:lvl1pPr>
              <a:spcBef>
                <a:spcPts val="0"/>
              </a:spcBef>
              <a:defRPr sz="1600" b="0" baseline="0">
                <a:latin typeface="+mn-lt"/>
              </a:defRPr>
            </a:lvl1pPr>
          </a:lstStyle>
          <a:p>
            <a:pPr lvl="0"/>
            <a:r>
              <a:rPr lang="de-DE" dirty="0"/>
              <a:t>Platzhalter Untertitel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580112" y="6206084"/>
            <a:ext cx="3240000" cy="184666"/>
          </a:xfrm>
        </p:spPr>
        <p:txBody>
          <a:bodyPr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Platzhalter </a:t>
            </a:r>
            <a:r>
              <a:rPr lang="de-DE" sz="1200" dirty="0">
                <a:solidFill>
                  <a:srgbClr val="6E7E8D"/>
                </a:solidFill>
                <a:latin typeface="Arial" panose="020B0604020202020204" pitchFamily="34" charset="0"/>
              </a:rPr>
              <a:t>Referent  |  Ort  |  Datum</a:t>
            </a:r>
          </a:p>
        </p:txBody>
      </p: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920372" y="543274"/>
            <a:ext cx="899778" cy="511077"/>
          </a:xfrm>
          <a:prstGeom prst="rect">
            <a:avLst/>
          </a:prstGeom>
        </p:spPr>
      </p:pic>
      <p:sp>
        <p:nvSpPr>
          <p:cNvPr id="29" name="Bildplatzhalter 2"/>
          <p:cNvSpPr>
            <a:spLocks noGrp="1"/>
          </p:cNvSpPr>
          <p:nvPr userDrawn="1">
            <p:ph type="pic" sz="quarter" idx="12"/>
          </p:nvPr>
        </p:nvSpPr>
        <p:spPr bwMode="gray">
          <a:xfrm>
            <a:off x="0" y="0"/>
            <a:ext cx="5184068" cy="6858000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endParaRPr lang="en-US"/>
          </a:p>
        </p:txBody>
      </p:sp>
      <p:cxnSp>
        <p:nvCxnSpPr>
          <p:cNvPr id="32" name="Gerade Verbindung 31"/>
          <p:cNvCxnSpPr/>
          <p:nvPr userDrawn="1"/>
        </p:nvCxnSpPr>
        <p:spPr bwMode="gray">
          <a:xfrm>
            <a:off x="323528" y="-184891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 bwMode="gray">
          <a:xfrm>
            <a:off x="4463988" y="-184891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/>
        </p:nvCxnSpPr>
        <p:spPr bwMode="gray">
          <a:xfrm>
            <a:off x="4572000" y="-184891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/>
          <p:cNvCxnSpPr/>
          <p:nvPr userDrawn="1"/>
        </p:nvCxnSpPr>
        <p:spPr bwMode="gray">
          <a:xfrm>
            <a:off x="4680012" y="-184891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 userDrawn="1"/>
        </p:nvCxnSpPr>
        <p:spPr bwMode="gray">
          <a:xfrm>
            <a:off x="8820472" y="-184891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301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93702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910"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uppieren 18"/>
          <p:cNvGrpSpPr/>
          <p:nvPr userDrawn="1"/>
        </p:nvGrpSpPr>
        <p:grpSpPr>
          <a:xfrm>
            <a:off x="-180528" y="-184891"/>
            <a:ext cx="9505056" cy="7214285"/>
            <a:chOff x="-180528" y="-184891"/>
            <a:chExt cx="9505056" cy="7214285"/>
          </a:xfrm>
        </p:grpSpPr>
        <p:cxnSp>
          <p:nvCxnSpPr>
            <p:cNvPr id="20" name="Gerade Verbindung 19"/>
            <p:cNvCxnSpPr/>
            <p:nvPr/>
          </p:nvCxnSpPr>
          <p:spPr bwMode="gray">
            <a:xfrm>
              <a:off x="314197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 bwMode="gray">
            <a:xfrm>
              <a:off x="4459737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 bwMode="gray">
            <a:xfrm>
              <a:off x="456774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 bwMode="gray">
            <a:xfrm>
              <a:off x="4675761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 bwMode="gray">
            <a:xfrm>
              <a:off x="8811141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 bwMode="gray">
            <a:xfrm>
              <a:off x="314197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 bwMode="gray">
            <a:xfrm>
              <a:off x="4459737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 bwMode="gray">
            <a:xfrm>
              <a:off x="456774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/>
          </p:nvCxnSpPr>
          <p:spPr bwMode="gray">
            <a:xfrm>
              <a:off x="4675761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/>
          </p:nvCxnSpPr>
          <p:spPr bwMode="gray">
            <a:xfrm>
              <a:off x="8811141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/>
          </p:nvCxnSpPr>
          <p:spPr bwMode="gray">
            <a:xfrm rot="16200000">
              <a:off x="-108528" y="1475462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/>
          </p:nvCxnSpPr>
          <p:spPr bwMode="gray">
            <a:xfrm rot="16200000">
              <a:off x="-108528" y="629980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 bwMode="gray">
            <a:xfrm rot="16200000">
              <a:off x="9252528" y="1475463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 bwMode="gray">
            <a:xfrm rot="16200000">
              <a:off x="9252528" y="629980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Rechteck 4"/>
          <p:cNvSpPr/>
          <p:nvPr userDrawn="1"/>
        </p:nvSpPr>
        <p:spPr bwMode="gray">
          <a:xfrm>
            <a:off x="1" y="-1"/>
            <a:ext cx="1871689" cy="6858001"/>
          </a:xfrm>
          <a:prstGeom prst="rect">
            <a:avLst/>
          </a:prstGeom>
          <a:solidFill>
            <a:srgbClr val="CAD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6" name="Titel 1"/>
          <p:cNvSpPr txBox="1">
            <a:spLocks/>
          </p:cNvSpPr>
          <p:nvPr userDrawn="1"/>
        </p:nvSpPr>
        <p:spPr bwMode="gray">
          <a:xfrm>
            <a:off x="143508" y="338495"/>
            <a:ext cx="1404156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3200" b="1" dirty="0">
                <a:solidFill>
                  <a:srgbClr val="303C49"/>
                </a:solidFill>
                <a:latin typeface="Arial Narrow" panose="020B0606020202030204" pitchFamily="34" charset="0"/>
              </a:rPr>
              <a:t>Agenda</a:t>
            </a:r>
          </a:p>
        </p:txBody>
      </p:sp>
      <p:sp>
        <p:nvSpPr>
          <p:cNvPr id="35" name="Rechteck 34"/>
          <p:cNvSpPr/>
          <p:nvPr userDrawn="1"/>
        </p:nvSpPr>
        <p:spPr bwMode="gray">
          <a:xfrm>
            <a:off x="1871690" y="0"/>
            <a:ext cx="72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507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3604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934"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uppieren 19"/>
          <p:cNvGrpSpPr/>
          <p:nvPr userDrawn="1"/>
        </p:nvGrpSpPr>
        <p:grpSpPr>
          <a:xfrm>
            <a:off x="-180528" y="-184891"/>
            <a:ext cx="9505056" cy="7214285"/>
            <a:chOff x="-180528" y="-184891"/>
            <a:chExt cx="9505056" cy="7214285"/>
          </a:xfrm>
        </p:grpSpPr>
        <p:cxnSp>
          <p:nvCxnSpPr>
            <p:cNvPr id="21" name="Gerade Verbindung 20"/>
            <p:cNvCxnSpPr/>
            <p:nvPr/>
          </p:nvCxnSpPr>
          <p:spPr bwMode="gray">
            <a:xfrm>
              <a:off x="314197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 bwMode="gray">
            <a:xfrm>
              <a:off x="4459737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/>
          </p:nvCxnSpPr>
          <p:spPr bwMode="gray">
            <a:xfrm>
              <a:off x="456774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/>
          </p:nvCxnSpPr>
          <p:spPr bwMode="gray">
            <a:xfrm>
              <a:off x="4675761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 bwMode="gray">
            <a:xfrm>
              <a:off x="8811141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 bwMode="gray">
            <a:xfrm>
              <a:off x="314197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/>
          </p:nvCxnSpPr>
          <p:spPr bwMode="gray">
            <a:xfrm>
              <a:off x="4459737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/>
          </p:nvCxnSpPr>
          <p:spPr bwMode="gray">
            <a:xfrm>
              <a:off x="456774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 bwMode="gray">
            <a:xfrm>
              <a:off x="4675761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/>
          </p:nvCxnSpPr>
          <p:spPr bwMode="gray">
            <a:xfrm>
              <a:off x="8811141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/>
          </p:nvCxnSpPr>
          <p:spPr bwMode="gray">
            <a:xfrm rot="16200000">
              <a:off x="-108528" y="1475462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/>
          </p:nvCxnSpPr>
          <p:spPr bwMode="gray">
            <a:xfrm rot="16200000">
              <a:off x="-108528" y="629980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/>
          </p:nvCxnSpPr>
          <p:spPr bwMode="gray">
            <a:xfrm rot="16200000">
              <a:off x="9252528" y="1475463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/>
          </p:nvCxnSpPr>
          <p:spPr bwMode="gray">
            <a:xfrm rot="16200000">
              <a:off x="9252528" y="629980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Rechteck 4"/>
          <p:cNvSpPr/>
          <p:nvPr userDrawn="1"/>
        </p:nvSpPr>
        <p:spPr bwMode="gray">
          <a:xfrm>
            <a:off x="1" y="-2"/>
            <a:ext cx="4031939" cy="6858003"/>
          </a:xfrm>
          <a:prstGeom prst="rect">
            <a:avLst/>
          </a:prstGeom>
          <a:solidFill>
            <a:srgbClr val="CAD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319961" y="575200"/>
            <a:ext cx="4500189" cy="49244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t"/>
          <a:lstStyle>
            <a:lvl1pPr>
              <a:defRPr sz="3200"/>
            </a:lvl1pPr>
          </a:lstStyle>
          <a:p>
            <a:r>
              <a:rPr lang="de-DE" dirty="0"/>
              <a:t>Platzhalter Kapitel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7729" y="2473559"/>
            <a:ext cx="4031939" cy="5544626"/>
          </a:xfrm>
        </p:spPr>
        <p:txBody>
          <a:bodyPr lIns="0" tIns="1332000" anchor="b" anchorCtr="0">
            <a:noAutofit/>
          </a:bodyPr>
          <a:lstStyle>
            <a:lvl1pPr algn="r">
              <a:spcBef>
                <a:spcPts val="0"/>
              </a:spcBef>
              <a:defRPr sz="40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3" name="Gleichschenkliges Dreieck 22"/>
          <p:cNvSpPr/>
          <p:nvPr userDrawn="1"/>
        </p:nvSpPr>
        <p:spPr bwMode="gray">
          <a:xfrm rot="5400000">
            <a:off x="3994707" y="767421"/>
            <a:ext cx="242564" cy="108000"/>
          </a:xfrm>
          <a:prstGeom prst="triangle">
            <a:avLst/>
          </a:prstGeom>
          <a:solidFill>
            <a:srgbClr val="E4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24" name="Rechteck 23"/>
          <p:cNvSpPr/>
          <p:nvPr userDrawn="1"/>
        </p:nvSpPr>
        <p:spPr bwMode="gray">
          <a:xfrm>
            <a:off x="3995940" y="0"/>
            <a:ext cx="72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0680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40985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88"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5600" y="540000"/>
            <a:ext cx="8496000" cy="369332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 bwMode="gray">
          <a:xfrm>
            <a:off x="324472" y="1557338"/>
            <a:ext cx="8496300" cy="482441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24472" y="6650930"/>
            <a:ext cx="39960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7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MAN SE  |  MAN Truck &amp; Bus AG  |  Johanns Varela  |  11.11.2016  |  IT-Projektmanagement</a:t>
            </a:r>
            <a:endParaRPr lang="de-DE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7255709" y="6650930"/>
            <a:ext cx="21602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7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9"/>
          </p:nvPr>
        </p:nvSpPr>
        <p:spPr bwMode="gray">
          <a:xfrm>
            <a:off x="322838" y="207371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de-DE" dirty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100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/ Text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5600" y="540000"/>
            <a:ext cx="8496000" cy="369332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 bwMode="gray">
          <a:xfrm>
            <a:off x="324472" y="1988840"/>
            <a:ext cx="8496300" cy="439291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accent2"/>
              </a:buClr>
              <a:defRPr sz="1600"/>
            </a:lvl3pPr>
            <a:lvl4pPr>
              <a:buClr>
                <a:schemeClr val="accent2"/>
              </a:buCl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5"/>
          </p:nvPr>
        </p:nvSpPr>
        <p:spPr bwMode="gray">
          <a:xfrm>
            <a:off x="0" y="1080000"/>
            <a:ext cx="5220000" cy="349702"/>
          </a:xfrm>
          <a:solidFill>
            <a:schemeClr val="accent2"/>
          </a:solidFill>
        </p:spPr>
        <p:txBody>
          <a:bodyPr vert="horz" wrap="none" lIns="324000" tIns="36000" rIns="108000" bIns="36000" rtlCol="0" anchor="t" anchorCtr="0">
            <a:spAutoFit/>
          </a:bodyPr>
          <a:lstStyle>
            <a:lvl1pPr>
              <a:defRPr lang="de-DE" sz="1800" noProof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spcBef>
                <a:spcPts val="0"/>
              </a:spcBef>
            </a:pPr>
            <a:r>
              <a:rPr lang="de-DE" noProof="0" dirty="0"/>
              <a:t>Textmasterformat bearbeiten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24472" y="6650930"/>
            <a:ext cx="39960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7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MAN SE  |  MAN Truck &amp; Bus AG  |  Johanns Varela  |  11.11.2016  |  IT-Projektmanagement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7255709" y="6650930"/>
            <a:ext cx="21602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7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9"/>
          </p:nvPr>
        </p:nvSpPr>
        <p:spPr bwMode="gray">
          <a:xfrm>
            <a:off x="322838" y="207371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de-DE" dirty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579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/ Zwei Text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24472" y="889844"/>
            <a:ext cx="8496000" cy="369332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 bwMode="gray">
          <a:xfrm>
            <a:off x="324472" y="1988840"/>
            <a:ext cx="4139578" cy="17357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accent2"/>
              </a:buClr>
              <a:defRPr sz="1600"/>
            </a:lvl3pPr>
            <a:lvl4pPr>
              <a:buClr>
                <a:schemeClr val="accent2"/>
              </a:buCl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5"/>
          </p:nvPr>
        </p:nvSpPr>
        <p:spPr bwMode="gray">
          <a:xfrm>
            <a:off x="0" y="1555225"/>
            <a:ext cx="4464050" cy="349702"/>
          </a:xfrm>
          <a:solidFill>
            <a:schemeClr val="accent2"/>
          </a:solidFill>
        </p:spPr>
        <p:txBody>
          <a:bodyPr wrap="none" lIns="324000" tIns="36000" rIns="108000" bIns="36000" anchor="t" anchorCtr="0">
            <a:noAutofit/>
          </a:bodyPr>
          <a:lstStyle>
            <a:lvl1pPr>
              <a:spcBef>
                <a:spcPts val="0"/>
              </a:spcBef>
              <a:defRPr sz="1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24472" y="6650930"/>
            <a:ext cx="39960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7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MAN SE  |  MAN Truck &amp; Bus AG  |  Johanns Varela  |  11.11.2016  |  IT-Projektmanagement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7255709" y="6650930"/>
            <a:ext cx="21602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7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9"/>
          </p:nvPr>
        </p:nvSpPr>
        <p:spPr bwMode="gray">
          <a:xfrm>
            <a:off x="4679950" y="1564090"/>
            <a:ext cx="4464050" cy="349702"/>
          </a:xfrm>
          <a:solidFill>
            <a:schemeClr val="accent2"/>
          </a:solidFill>
        </p:spPr>
        <p:txBody>
          <a:bodyPr wrap="none" lIns="108000" tIns="36000" rIns="324000" bIns="36000" anchor="t" anchorCtr="0">
            <a:noAutofit/>
          </a:bodyPr>
          <a:lstStyle>
            <a:lvl1pPr>
              <a:spcBef>
                <a:spcPts val="0"/>
              </a:spcBef>
              <a:defRPr sz="1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4" name="Textplatzhalter 9"/>
          <p:cNvSpPr>
            <a:spLocks noGrp="1"/>
          </p:cNvSpPr>
          <p:nvPr>
            <p:ph type="body" sz="quarter" idx="20"/>
          </p:nvPr>
        </p:nvSpPr>
        <p:spPr bwMode="gray">
          <a:xfrm>
            <a:off x="4679950" y="1988840"/>
            <a:ext cx="4140200" cy="1735700"/>
          </a:xfrm>
        </p:spPr>
        <p:txBody>
          <a:bodyPr lIns="108000"/>
          <a:lstStyle>
            <a:lvl1pPr>
              <a:defRPr sz="1600"/>
            </a:lvl1pPr>
            <a:lvl2pPr>
              <a:defRPr sz="1600"/>
            </a:lvl2pPr>
            <a:lvl3pPr>
              <a:buClr>
                <a:schemeClr val="accent2"/>
              </a:buClr>
              <a:defRPr sz="1600"/>
            </a:lvl3pPr>
            <a:lvl4pPr>
              <a:buClr>
                <a:schemeClr val="accent2"/>
              </a:buCl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1"/>
          </p:nvPr>
        </p:nvSpPr>
        <p:spPr bwMode="gray">
          <a:xfrm>
            <a:off x="322838" y="207371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de-DE" dirty="0"/>
              <a:t>Textmasterformat bearbeiten</a:t>
            </a:r>
            <a:endParaRPr lang="en-US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3"/>
          </p:nvPr>
        </p:nvSpPr>
        <p:spPr>
          <a:xfrm>
            <a:off x="324472" y="3825875"/>
            <a:ext cx="4140000" cy="2555875"/>
          </a:xfr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>
              <a:defRPr lang="de-DE" b="0" dirty="0"/>
            </a:lvl1pPr>
          </a:lstStyle>
          <a:p>
            <a:pPr lvl="0">
              <a:spcBef>
                <a:spcPts val="0"/>
              </a:spcBef>
            </a:pPr>
            <a:endParaRPr lang="de-DE" dirty="0"/>
          </a:p>
        </p:txBody>
      </p:sp>
      <p:sp>
        <p:nvSpPr>
          <p:cNvPr id="18" name="Bildplatzhalter 3"/>
          <p:cNvSpPr>
            <a:spLocks noGrp="1"/>
          </p:cNvSpPr>
          <p:nvPr>
            <p:ph type="pic" sz="quarter" idx="24"/>
          </p:nvPr>
        </p:nvSpPr>
        <p:spPr>
          <a:xfrm>
            <a:off x="4680150" y="3825875"/>
            <a:ext cx="4140000" cy="2555875"/>
          </a:xfr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>
              <a:defRPr lang="de-DE" b="0" dirty="0"/>
            </a:lvl1pPr>
          </a:lstStyle>
          <a:p>
            <a:pPr lvl="0">
              <a:spcBef>
                <a:spcPts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6317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24472" y="6650930"/>
            <a:ext cx="39960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7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MAN SE  |  MAN Truck &amp; Bus AG  |  Johanns Varela  |  11.11.2016  |  IT-Projektmanagement</a:t>
            </a:r>
            <a:endParaRPr 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7255709" y="6650930"/>
            <a:ext cx="21602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7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9"/>
          </p:nvPr>
        </p:nvSpPr>
        <p:spPr bwMode="gray">
          <a:xfrm>
            <a:off x="322838" y="207371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de-DE" dirty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721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 /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24472" y="889844"/>
            <a:ext cx="8496000" cy="369332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 bwMode="gray">
          <a:xfrm>
            <a:off x="324472" y="1557338"/>
            <a:ext cx="4139578" cy="482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7"/>
          </p:nvPr>
        </p:nvSpPr>
        <p:spPr bwMode="gray">
          <a:xfrm>
            <a:off x="4679950" y="1557338"/>
            <a:ext cx="4464050" cy="4824412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endParaRPr lang="en-US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24472" y="6650930"/>
            <a:ext cx="39960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7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MAN SE  |  MAN Truck &amp; Bus AG  |  Johanns Varela  |  11.11.2016  |  IT-Projektmanagement</a:t>
            </a:r>
            <a:endParaRPr lang="de-DE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7255709" y="6650930"/>
            <a:ext cx="21602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7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9"/>
          </p:nvPr>
        </p:nvSpPr>
        <p:spPr bwMode="gray">
          <a:xfrm>
            <a:off x="322838" y="207371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de-DE" dirty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53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67394035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1" name="think-cell Folie" r:id="rId15" imgW="287" imgH="287" progId="TCLayout.ActiveDocument.1">
                  <p:embed/>
                </p:oleObj>
              </mc:Choice>
              <mc:Fallback>
                <p:oleObj name="think-cell Folie" r:id="rId15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uppieren 8"/>
          <p:cNvGrpSpPr/>
          <p:nvPr userDrawn="1"/>
        </p:nvGrpSpPr>
        <p:grpSpPr>
          <a:xfrm>
            <a:off x="-180528" y="-184891"/>
            <a:ext cx="9505056" cy="7214285"/>
            <a:chOff x="-180528" y="-184891"/>
            <a:chExt cx="9505056" cy="7214285"/>
          </a:xfrm>
        </p:grpSpPr>
        <p:cxnSp>
          <p:nvCxnSpPr>
            <p:cNvPr id="17" name="Gerade Verbindung 16"/>
            <p:cNvCxnSpPr/>
            <p:nvPr/>
          </p:nvCxnSpPr>
          <p:spPr bwMode="gray">
            <a:xfrm>
              <a:off x="314197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 bwMode="gray">
            <a:xfrm>
              <a:off x="4459737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 bwMode="gray">
            <a:xfrm>
              <a:off x="456774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 bwMode="gray">
            <a:xfrm>
              <a:off x="4675761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 bwMode="gray">
            <a:xfrm>
              <a:off x="8811141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 bwMode="gray">
            <a:xfrm>
              <a:off x="314197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 bwMode="gray">
            <a:xfrm>
              <a:off x="4459737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 bwMode="gray">
            <a:xfrm>
              <a:off x="456774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 bwMode="gray">
            <a:xfrm>
              <a:off x="4675761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/>
          </p:nvCxnSpPr>
          <p:spPr bwMode="gray">
            <a:xfrm>
              <a:off x="8811141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/>
          </p:nvCxnSpPr>
          <p:spPr bwMode="gray">
            <a:xfrm rot="16200000">
              <a:off x="-108528" y="1475462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/>
          </p:nvCxnSpPr>
          <p:spPr bwMode="gray">
            <a:xfrm rot="16200000">
              <a:off x="-108528" y="629980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 bwMode="gray">
            <a:xfrm rot="16200000">
              <a:off x="9252528" y="1475463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 bwMode="gray">
            <a:xfrm rot="16200000">
              <a:off x="9252528" y="629980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24472" y="6650930"/>
            <a:ext cx="39960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7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MAN SE  |  MAN Truck &amp; Bus AG  |  Johanns Varela  |  11.11.2016  |  IT-Projektmanagement</a:t>
            </a:r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24472" y="889844"/>
            <a:ext cx="8496000" cy="36933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472" y="1557337"/>
            <a:ext cx="8496000" cy="482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7255709" y="6650930"/>
            <a:ext cx="21602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7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0" y="6501341"/>
            <a:ext cx="9144508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527966" y="6570929"/>
            <a:ext cx="302400" cy="170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feld 12"/>
          <p:cNvSpPr txBox="1"/>
          <p:nvPr/>
        </p:nvSpPr>
        <p:spPr bwMode="gray">
          <a:xfrm>
            <a:off x="7768736" y="6633372"/>
            <a:ext cx="504056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 algn="ctr">
              <a:spcBef>
                <a:spcPts val="400"/>
              </a:spcBef>
              <a:spcAft>
                <a:spcPct val="0"/>
              </a:spcAft>
            </a:pPr>
            <a:r>
              <a:rPr lang="de-DE" sz="1200" dirty="0">
                <a:solidFill>
                  <a:schemeClr val="tx2"/>
                </a:solidFill>
                <a:latin typeface="Arial"/>
                <a:sym typeface="Wingdings"/>
              </a:rPr>
              <a:t></a:t>
            </a:r>
            <a:r>
              <a:rPr lang="de-DE" sz="1200" dirty="0">
                <a:solidFill>
                  <a:schemeClr val="accent4"/>
                </a:solidFill>
                <a:latin typeface="Arial"/>
                <a:sym typeface="Wingdings"/>
              </a:rPr>
              <a:t></a:t>
            </a:r>
            <a:endParaRPr lang="de-DE" sz="1200" dirty="0">
              <a:solidFill>
                <a:schemeClr val="accent4"/>
              </a:solidFill>
              <a:latin typeface="Arial"/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7463911" y="6650930"/>
            <a:ext cx="81372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 algn="l"/>
            <a:r>
              <a:rPr lang="de-DE" sz="700" dirty="0">
                <a:solidFill>
                  <a:schemeClr val="accent3"/>
                </a:solidFill>
                <a:latin typeface="Arial" panose="020B0604020202020204" pitchFamily="34" charset="0"/>
              </a:rPr>
              <a:t>&lt;</a:t>
            </a:r>
          </a:p>
        </p:txBody>
      </p:sp>
      <p:sp>
        <p:nvSpPr>
          <p:cNvPr id="34" name="Rechteck 33"/>
          <p:cNvSpPr/>
          <p:nvPr userDrawn="1"/>
        </p:nvSpPr>
        <p:spPr>
          <a:xfrm>
            <a:off x="7175879" y="6650930"/>
            <a:ext cx="87651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 algn="r"/>
            <a:r>
              <a:rPr lang="de-DE" sz="700" dirty="0">
                <a:solidFill>
                  <a:schemeClr val="accent3"/>
                </a:solidFill>
                <a:latin typeface="Arial" panose="020B0604020202020204" pitchFamily="34" charset="0"/>
              </a:rPr>
              <a:t>&gt;</a:t>
            </a:r>
          </a:p>
        </p:txBody>
      </p:sp>
      <p:cxnSp>
        <p:nvCxnSpPr>
          <p:cNvPr id="38" name="Gerade Verbindung 37"/>
          <p:cNvCxnSpPr/>
          <p:nvPr userDrawn="1"/>
        </p:nvCxnSpPr>
        <p:spPr bwMode="gray">
          <a:xfrm>
            <a:off x="-254" y="0"/>
            <a:ext cx="9144508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5974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49" r:id="rId2"/>
    <p:sldLayoutId id="2147483659" r:id="rId3"/>
    <p:sldLayoutId id="2147483660" r:id="rId4"/>
    <p:sldLayoutId id="2147483650" r:id="rId5"/>
    <p:sldLayoutId id="2147483662" r:id="rId6"/>
    <p:sldLayoutId id="2147483669" r:id="rId7"/>
    <p:sldLayoutId id="2147483656" r:id="rId8"/>
    <p:sldLayoutId id="2147483664" r:id="rId9"/>
    <p:sldLayoutId id="2147483663" r:id="rId10"/>
    <p:sldLayoutId id="2147483667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16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800"/>
        </a:spcBef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spcBef>
          <a:spcPts val="1000"/>
        </a:spcBef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81" userDrawn="1">
          <p15:clr>
            <a:srgbClr val="F26B43"/>
          </p15:clr>
        </p15:guide>
        <p15:guide id="2" pos="204" userDrawn="1">
          <p15:clr>
            <a:srgbClr val="F26B43"/>
          </p15:clr>
        </p15:guide>
        <p15:guide id="3" pos="2812" userDrawn="1">
          <p15:clr>
            <a:srgbClr val="F26B43"/>
          </p15:clr>
        </p15:guide>
        <p15:guide id="4" pos="2880" userDrawn="1">
          <p15:clr>
            <a:srgbClr val="F26B43"/>
          </p15:clr>
        </p15:guide>
        <p15:guide id="5" pos="2948" userDrawn="1">
          <p15:clr>
            <a:srgbClr val="F26B43"/>
          </p15:clr>
        </p15:guide>
        <p15:guide id="6" pos="5556" userDrawn="1">
          <p15:clr>
            <a:srgbClr val="F26B43"/>
          </p15:clr>
        </p15:guide>
        <p15:guide id="7" orient="horz" pos="40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jp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svg"/><Relationship Id="rId18" Type="http://schemas.openxmlformats.org/officeDocument/2006/relationships/image" Target="../media/image23.png"/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12" Type="http://schemas.openxmlformats.org/officeDocument/2006/relationships/image" Target="../media/image17.png"/><Relationship Id="rId17" Type="http://schemas.openxmlformats.org/officeDocument/2006/relationships/image" Target="../media/image22.svg"/><Relationship Id="rId2" Type="http://schemas.openxmlformats.org/officeDocument/2006/relationships/image" Target="../media/image7.png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svg"/><Relationship Id="rId15" Type="http://schemas.openxmlformats.org/officeDocument/2006/relationships/image" Target="../media/image20.svg"/><Relationship Id="rId10" Type="http://schemas.openxmlformats.org/officeDocument/2006/relationships/image" Target="../media/image15.png"/><Relationship Id="rId19" Type="http://schemas.openxmlformats.org/officeDocument/2006/relationships/image" Target="../media/image24.svg"/><Relationship Id="rId4" Type="http://schemas.openxmlformats.org/officeDocument/2006/relationships/image" Target="../media/image9.png"/><Relationship Id="rId9" Type="http://schemas.openxmlformats.org/officeDocument/2006/relationships/image" Target="../media/image14.svg"/><Relationship Id="rId1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image" Target="../media/image22.svg"/><Relationship Id="rId7" Type="http://schemas.openxmlformats.org/officeDocument/2006/relationships/image" Target="../media/image18.svg"/><Relationship Id="rId12" Type="http://schemas.openxmlformats.org/officeDocument/2006/relationships/image" Target="../media/image11.png"/><Relationship Id="rId17" Type="http://schemas.openxmlformats.org/officeDocument/2006/relationships/image" Target="../media/image20.svg"/><Relationship Id="rId2" Type="http://schemas.openxmlformats.org/officeDocument/2006/relationships/image" Target="../media/image21.png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png"/><Relationship Id="rId11" Type="http://schemas.openxmlformats.org/officeDocument/2006/relationships/image" Target="../media/image10.svg"/><Relationship Id="rId5" Type="http://schemas.openxmlformats.org/officeDocument/2006/relationships/image" Target="../media/image14.svg"/><Relationship Id="rId15" Type="http://schemas.openxmlformats.org/officeDocument/2006/relationships/image" Target="../media/image16.svg"/><Relationship Id="rId10" Type="http://schemas.openxmlformats.org/officeDocument/2006/relationships/image" Target="../media/image9.png"/><Relationship Id="rId4" Type="http://schemas.openxmlformats.org/officeDocument/2006/relationships/image" Target="../media/image13.png"/><Relationship Id="rId9" Type="http://schemas.openxmlformats.org/officeDocument/2006/relationships/image" Target="../media/image8.svg"/><Relationship Id="rId1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1876886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75" name="think-cell Folie" r:id="rId4" imgW="287" imgH="287" progId="TCLayout.ActiveDocument.1">
                  <p:embed/>
                </p:oleObj>
              </mc:Choice>
              <mc:Fallback>
                <p:oleObj name="think-cell Folie" r:id="rId4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80112" y="2490560"/>
            <a:ext cx="3240000" cy="123110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 sz="4800" dirty="0">
                <a:solidFill>
                  <a:schemeClr val="accent5">
                    <a:lumMod val="50000"/>
                  </a:schemeClr>
                </a:solidFill>
              </a:rPr>
              <a:t>MAN </a:t>
            </a:r>
            <a:br>
              <a:rPr lang="de-DE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de-DE" dirty="0">
                <a:solidFill>
                  <a:schemeClr val="accent5">
                    <a:lumMod val="50000"/>
                  </a:schemeClr>
                </a:solidFill>
              </a:rPr>
              <a:t>Truck &amp; Bus A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2000" dirty="0"/>
              <a:t>IT-Projektmanagement</a:t>
            </a:r>
            <a:endParaRPr lang="de-DE" sz="18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5762992" y="6483083"/>
            <a:ext cx="3240000" cy="184666"/>
          </a:xfrm>
        </p:spPr>
        <p:txBody>
          <a:bodyPr/>
          <a:lstStyle/>
          <a:p>
            <a:r>
              <a:rPr lang="de-DE" dirty="0"/>
              <a:t>Johanns Varela  |  Augsburg  |  11.11.2016</a:t>
            </a:r>
          </a:p>
        </p:txBody>
      </p:sp>
      <p:pic>
        <p:nvPicPr>
          <p:cNvPr id="11" name="Bildplatzhalter 10"/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" b="31"/>
          <a:stretch>
            <a:fillRect/>
          </a:stretch>
        </p:blipFill>
        <p:spPr>
          <a:xfrm>
            <a:off x="0" y="4234"/>
            <a:ext cx="5184775" cy="6853766"/>
          </a:xfr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78" t="62" r="38896" b="-62"/>
          <a:stretch/>
        </p:blipFill>
        <p:spPr>
          <a:xfrm>
            <a:off x="3176" y="-59267"/>
            <a:ext cx="5181600" cy="6917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96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288357E0-7AB6-421C-AC06-A8F59158A9FA}"/>
              </a:ext>
            </a:extLst>
          </p:cNvPr>
          <p:cNvGrpSpPr/>
          <p:nvPr/>
        </p:nvGrpSpPr>
        <p:grpSpPr>
          <a:xfrm>
            <a:off x="2118749" y="1349437"/>
            <a:ext cx="5104480" cy="4957481"/>
            <a:chOff x="1647099" y="692409"/>
            <a:chExt cx="5346741" cy="5230628"/>
          </a:xfrm>
        </p:grpSpPr>
        <p:sp>
          <p:nvSpPr>
            <p:cNvPr id="18" name="Flussdiagramm: Verbinder 17">
              <a:extLst>
                <a:ext uri="{FF2B5EF4-FFF2-40B4-BE49-F238E27FC236}">
                  <a16:creationId xmlns:a16="http://schemas.microsoft.com/office/drawing/2014/main" id="{71E86F5B-7B51-4D3F-AF1B-04B4953AB1F9}"/>
                </a:ext>
              </a:extLst>
            </p:cNvPr>
            <p:cNvSpPr/>
            <p:nvPr/>
          </p:nvSpPr>
          <p:spPr>
            <a:xfrm>
              <a:off x="1647099" y="692409"/>
              <a:ext cx="5346741" cy="5230628"/>
            </a:xfrm>
            <a:prstGeom prst="flowChartConnector">
              <a:avLst/>
            </a:prstGeom>
            <a:solidFill>
              <a:schemeClr val="accent4"/>
            </a:solidFill>
            <a:ln w="9525">
              <a:solidFill>
                <a:schemeClr val="accent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000" indent="-180000" algn="ctr">
                <a:spcBef>
                  <a:spcPts val="800"/>
                </a:spcBef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30" name="Träne 29">
              <a:extLst>
                <a:ext uri="{FF2B5EF4-FFF2-40B4-BE49-F238E27FC236}">
                  <a16:creationId xmlns:a16="http://schemas.microsoft.com/office/drawing/2014/main" id="{761A5014-051E-4085-AFB1-57EBD398323A}"/>
                </a:ext>
              </a:extLst>
            </p:cNvPr>
            <p:cNvSpPr/>
            <p:nvPr/>
          </p:nvSpPr>
          <p:spPr>
            <a:xfrm rot="8156576">
              <a:off x="3115930" y="1228430"/>
              <a:ext cx="2409081" cy="2373124"/>
            </a:xfrm>
            <a:prstGeom prst="teardrop">
              <a:avLst>
                <a:gd name="adj" fmla="val 84134"/>
              </a:avLst>
            </a:prstGeom>
            <a:solidFill>
              <a:schemeClr val="accent2">
                <a:alpha val="60000"/>
              </a:schemeClr>
            </a:solidFill>
            <a:ln w="952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000" indent="-180000" algn="ctr">
                <a:spcBef>
                  <a:spcPts val="800"/>
                </a:spcBef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31" name="Träne 30">
              <a:extLst>
                <a:ext uri="{FF2B5EF4-FFF2-40B4-BE49-F238E27FC236}">
                  <a16:creationId xmlns:a16="http://schemas.microsoft.com/office/drawing/2014/main" id="{66D84E24-84DF-44D8-B4C1-85816E844A04}"/>
                </a:ext>
              </a:extLst>
            </p:cNvPr>
            <p:cNvSpPr/>
            <p:nvPr/>
          </p:nvSpPr>
          <p:spPr>
            <a:xfrm rot="15239572">
              <a:off x="3846686" y="2601005"/>
              <a:ext cx="2409081" cy="2373124"/>
            </a:xfrm>
            <a:prstGeom prst="teardrop">
              <a:avLst>
                <a:gd name="adj" fmla="val 84134"/>
              </a:avLst>
            </a:prstGeom>
            <a:solidFill>
              <a:schemeClr val="tx2">
                <a:alpha val="60000"/>
              </a:schemeClr>
            </a:solidFill>
            <a:ln w="952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000" indent="-180000" algn="ctr">
                <a:spcBef>
                  <a:spcPts val="800"/>
                </a:spcBef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32" name="Träne 31">
              <a:extLst>
                <a:ext uri="{FF2B5EF4-FFF2-40B4-BE49-F238E27FC236}">
                  <a16:creationId xmlns:a16="http://schemas.microsoft.com/office/drawing/2014/main" id="{2C485DBD-1F16-4A02-A324-25DDF403BE07}"/>
                </a:ext>
              </a:extLst>
            </p:cNvPr>
            <p:cNvSpPr/>
            <p:nvPr/>
          </p:nvSpPr>
          <p:spPr>
            <a:xfrm rot="546602">
              <a:off x="2373969" y="2610202"/>
              <a:ext cx="2409081" cy="2373124"/>
            </a:xfrm>
            <a:prstGeom prst="teardrop">
              <a:avLst>
                <a:gd name="adj" fmla="val 84134"/>
              </a:avLst>
            </a:prstGeom>
            <a:solidFill>
              <a:schemeClr val="tx1">
                <a:lumMod val="60000"/>
                <a:lumOff val="40000"/>
                <a:alpha val="60000"/>
              </a:schemeClr>
            </a:solidFill>
            <a:ln w="952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000" indent="-180000" algn="ctr">
                <a:spcBef>
                  <a:spcPts val="800"/>
                </a:spcBef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5600" y="540000"/>
            <a:ext cx="8496000" cy="369332"/>
          </a:xfrm>
        </p:spPr>
        <p:txBody>
          <a:bodyPr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Rollen im Projek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MAN SE  |  MAN Truck &amp; Bus AG  |  Johanns Varela  |  07.11.2017  |  Cross Digital Projects (GDT)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Agiles Vorgehen &amp; Digitales Board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DDBD67F-F7C2-40F1-B7E0-9D3FBF5A88BB}"/>
              </a:ext>
            </a:extLst>
          </p:cNvPr>
          <p:cNvSpPr txBox="1"/>
          <p:nvPr/>
        </p:nvSpPr>
        <p:spPr>
          <a:xfrm>
            <a:off x="3825932" y="2662410"/>
            <a:ext cx="17186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800"/>
              </a:spcBef>
              <a:buClr>
                <a:schemeClr val="accent2"/>
              </a:buClr>
            </a:pPr>
            <a:r>
              <a:rPr lang="de-DE" b="1" dirty="0" err="1"/>
              <a:t>Scrum</a:t>
            </a:r>
            <a:r>
              <a:rPr lang="de-DE" b="1" dirty="0"/>
              <a:t> Master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6D90E129-1126-4106-9F09-35C28D92D622}"/>
              </a:ext>
            </a:extLst>
          </p:cNvPr>
          <p:cNvSpPr txBox="1"/>
          <p:nvPr/>
        </p:nvSpPr>
        <p:spPr>
          <a:xfrm>
            <a:off x="5202576" y="3773865"/>
            <a:ext cx="17186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800"/>
              </a:spcBef>
              <a:buClr>
                <a:schemeClr val="accent2"/>
              </a:buClr>
            </a:pPr>
            <a:r>
              <a:rPr lang="de-DE" sz="1400" b="1" dirty="0"/>
              <a:t>    Cross-Funktionales</a:t>
            </a:r>
            <a:br>
              <a:rPr lang="de-DE" sz="1400" b="1" dirty="0"/>
            </a:br>
            <a:r>
              <a:rPr lang="de-DE" sz="1400" b="1" dirty="0"/>
              <a:t>     Team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C70A5D2-2D47-45B0-8FDB-C47CE580F163}"/>
              </a:ext>
            </a:extLst>
          </p:cNvPr>
          <p:cNvSpPr txBox="1"/>
          <p:nvPr/>
        </p:nvSpPr>
        <p:spPr>
          <a:xfrm>
            <a:off x="3195412" y="4494981"/>
            <a:ext cx="17186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800"/>
              </a:spcBef>
              <a:buClr>
                <a:schemeClr val="accent2"/>
              </a:buClr>
            </a:pPr>
            <a:r>
              <a:rPr lang="de-DE" b="1" dirty="0" err="1"/>
              <a:t>Product</a:t>
            </a:r>
            <a:br>
              <a:rPr lang="de-DE" b="1" dirty="0"/>
            </a:br>
            <a:r>
              <a:rPr lang="de-DE" b="1" dirty="0" err="1"/>
              <a:t>Owner</a:t>
            </a:r>
            <a:r>
              <a:rPr lang="de-DE" b="1" dirty="0"/>
              <a:t> </a:t>
            </a:r>
          </a:p>
        </p:txBody>
      </p:sp>
      <p:pic>
        <p:nvPicPr>
          <p:cNvPr id="43" name="Grafik 42" descr="Kinder">
            <a:extLst>
              <a:ext uri="{FF2B5EF4-FFF2-40B4-BE49-F238E27FC236}">
                <a16:creationId xmlns:a16="http://schemas.microsoft.com/office/drawing/2014/main" id="{1C3A5264-422B-43D4-814C-79A3F06E60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82155" y="4450315"/>
            <a:ext cx="914400" cy="9144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5" name="Grafik 34" descr="Geschenk">
            <a:extLst>
              <a:ext uri="{FF2B5EF4-FFF2-40B4-BE49-F238E27FC236}">
                <a16:creationId xmlns:a16="http://schemas.microsoft.com/office/drawing/2014/main" id="{92752E9A-FF42-4EC9-AF78-085EC72F02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50268" y="3460172"/>
            <a:ext cx="627386" cy="6273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5" name="Grafik 44" descr="Callcenter">
            <a:extLst>
              <a:ext uri="{FF2B5EF4-FFF2-40B4-BE49-F238E27FC236}">
                <a16:creationId xmlns:a16="http://schemas.microsoft.com/office/drawing/2014/main" id="{20AF69AE-08D8-4526-ADAB-974847A70C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20792" y="1984974"/>
            <a:ext cx="700393" cy="7003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7" name="Grafik 46" descr="Gehirn im Kopf">
            <a:extLst>
              <a:ext uri="{FF2B5EF4-FFF2-40B4-BE49-F238E27FC236}">
                <a16:creationId xmlns:a16="http://schemas.microsoft.com/office/drawing/2014/main" id="{DCF08010-D4A0-466E-B6FA-482BFD79454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92718" y="3861632"/>
            <a:ext cx="627386" cy="6273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AFA51EE6-FAE9-4068-9F76-8E600FCC844B}"/>
              </a:ext>
            </a:extLst>
          </p:cNvPr>
          <p:cNvGrpSpPr/>
          <p:nvPr/>
        </p:nvGrpSpPr>
        <p:grpSpPr>
          <a:xfrm>
            <a:off x="4228205" y="379961"/>
            <a:ext cx="914097" cy="874964"/>
            <a:chOff x="5456223" y="245170"/>
            <a:chExt cx="914097" cy="874964"/>
          </a:xfrm>
        </p:grpSpPr>
        <p:pic>
          <p:nvPicPr>
            <p:cNvPr id="49" name="Grafik 48" descr="Dozent">
              <a:extLst>
                <a:ext uri="{FF2B5EF4-FFF2-40B4-BE49-F238E27FC236}">
                  <a16:creationId xmlns:a16="http://schemas.microsoft.com/office/drawing/2014/main" id="{3962FE86-F42D-45FA-933C-0C124CBA30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602701" y="245170"/>
              <a:ext cx="577735" cy="57773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20C24A1C-F0A8-46DD-81A8-D0A07FF21CB0}"/>
                </a:ext>
              </a:extLst>
            </p:cNvPr>
            <p:cNvSpPr txBox="1"/>
            <p:nvPr/>
          </p:nvSpPr>
          <p:spPr>
            <a:xfrm>
              <a:off x="5456223" y="812357"/>
              <a:ext cx="91409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800"/>
                </a:spcBef>
                <a:buClr>
                  <a:schemeClr val="accent2"/>
                </a:buClr>
              </a:pPr>
              <a:r>
                <a:rPr lang="de-DE" sz="1400" b="1" dirty="0"/>
                <a:t>Manager</a:t>
              </a: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8D1657C6-31A7-494D-9F7D-6F3C92BB97D3}"/>
              </a:ext>
            </a:extLst>
          </p:cNvPr>
          <p:cNvGrpSpPr/>
          <p:nvPr/>
        </p:nvGrpSpPr>
        <p:grpSpPr>
          <a:xfrm>
            <a:off x="1653150" y="4916695"/>
            <a:ext cx="780766" cy="791809"/>
            <a:chOff x="7438675" y="1360909"/>
            <a:chExt cx="780766" cy="791809"/>
          </a:xfrm>
        </p:grpSpPr>
        <p:pic>
          <p:nvPicPr>
            <p:cNvPr id="54" name="Grafik 53" descr="Krone">
              <a:extLst>
                <a:ext uri="{FF2B5EF4-FFF2-40B4-BE49-F238E27FC236}">
                  <a16:creationId xmlns:a16="http://schemas.microsoft.com/office/drawing/2014/main" id="{2DF7406C-042C-4043-858D-ADFF5D340F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537664" y="1360909"/>
              <a:ext cx="484032" cy="484032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55" name="Textfeld 54">
              <a:extLst>
                <a:ext uri="{FF2B5EF4-FFF2-40B4-BE49-F238E27FC236}">
                  <a16:creationId xmlns:a16="http://schemas.microsoft.com/office/drawing/2014/main" id="{51911A15-6515-478E-B5A6-B75DF1E31036}"/>
                </a:ext>
              </a:extLst>
            </p:cNvPr>
            <p:cNvSpPr txBox="1"/>
            <p:nvPr/>
          </p:nvSpPr>
          <p:spPr>
            <a:xfrm>
              <a:off x="7438675" y="1844941"/>
              <a:ext cx="78076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800"/>
                </a:spcBef>
                <a:buClr>
                  <a:schemeClr val="accent2"/>
                </a:buClr>
              </a:pPr>
              <a:r>
                <a:rPr lang="de-DE" sz="1400" b="1" dirty="0"/>
                <a:t>Kunde</a:t>
              </a:r>
            </a:p>
          </p:txBody>
        </p: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A2A08AFF-16C2-4EFE-9814-ED0F7BE00CF1}"/>
              </a:ext>
            </a:extLst>
          </p:cNvPr>
          <p:cNvGrpSpPr/>
          <p:nvPr/>
        </p:nvGrpSpPr>
        <p:grpSpPr>
          <a:xfrm>
            <a:off x="7014060" y="4827081"/>
            <a:ext cx="780766" cy="801401"/>
            <a:chOff x="6989214" y="1038540"/>
            <a:chExt cx="780766" cy="801401"/>
          </a:xfrm>
        </p:grpSpPr>
        <p:pic>
          <p:nvPicPr>
            <p:cNvPr id="58" name="Grafik 57" descr="Lehrer">
              <a:extLst>
                <a:ext uri="{FF2B5EF4-FFF2-40B4-BE49-F238E27FC236}">
                  <a16:creationId xmlns:a16="http://schemas.microsoft.com/office/drawing/2014/main" id="{289F5239-B9AF-4748-A647-29C5BD5E2B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057220" y="1038540"/>
              <a:ext cx="577734" cy="57773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59" name="Textfeld 58">
              <a:extLst>
                <a:ext uri="{FF2B5EF4-FFF2-40B4-BE49-F238E27FC236}">
                  <a16:creationId xmlns:a16="http://schemas.microsoft.com/office/drawing/2014/main" id="{5DD308A0-BD9D-408F-8024-1B4F20CAFA88}"/>
                </a:ext>
              </a:extLst>
            </p:cNvPr>
            <p:cNvSpPr txBox="1"/>
            <p:nvPr/>
          </p:nvSpPr>
          <p:spPr>
            <a:xfrm>
              <a:off x="6989214" y="1532164"/>
              <a:ext cx="78076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800"/>
                </a:spcBef>
                <a:buClr>
                  <a:schemeClr val="accent2"/>
                </a:buClr>
              </a:pPr>
              <a:r>
                <a:rPr lang="de-DE" sz="1400" b="1" dirty="0"/>
                <a:t>Nutzer</a:t>
              </a:r>
            </a:p>
          </p:txBody>
        </p:sp>
      </p:grpSp>
      <p:pic>
        <p:nvPicPr>
          <p:cNvPr id="62" name="Grafik 61" descr="Pfeil: Kurve im Uhrzeigersinn">
            <a:extLst>
              <a:ext uri="{FF2B5EF4-FFF2-40B4-BE49-F238E27FC236}">
                <a16:creationId xmlns:a16="http://schemas.microsoft.com/office/drawing/2014/main" id="{F7FE6B57-871B-479F-ABB8-77BF6A9D37E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9970272">
            <a:off x="6193973" y="2359758"/>
            <a:ext cx="650899" cy="108212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3" name="Grafik 62" descr="Pfeil: Kurve im Uhrzeigersinn">
            <a:extLst>
              <a:ext uri="{FF2B5EF4-FFF2-40B4-BE49-F238E27FC236}">
                <a16:creationId xmlns:a16="http://schemas.microsoft.com/office/drawing/2014/main" id="{51398A66-3C1F-45A5-9B3F-4FE3158545E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6812095">
            <a:off x="4345209" y="5320422"/>
            <a:ext cx="650899" cy="108212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4" name="Grafik 63" descr="Pfeil: Kurve im Uhrzeigersinn">
            <a:extLst>
              <a:ext uri="{FF2B5EF4-FFF2-40B4-BE49-F238E27FC236}">
                <a16:creationId xmlns:a16="http://schemas.microsoft.com/office/drawing/2014/main" id="{A82068E9-6390-42C1-9B4D-3BCBA049B6E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2427693">
            <a:off x="2590785" y="2349583"/>
            <a:ext cx="650899" cy="108212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6" name="Grafik 65" descr="Handschlag">
            <a:extLst>
              <a:ext uri="{FF2B5EF4-FFF2-40B4-BE49-F238E27FC236}">
                <a16:creationId xmlns:a16="http://schemas.microsoft.com/office/drawing/2014/main" id="{BA72F5F9-DD9C-478B-AA14-D036C30176D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450767" y="1362038"/>
            <a:ext cx="526887" cy="526887"/>
          </a:xfrm>
          <a:prstGeom prst="rect">
            <a:avLst/>
          </a:prstGeom>
        </p:spPr>
      </p:pic>
      <p:pic>
        <p:nvPicPr>
          <p:cNvPr id="67" name="Grafik 66" descr="Handschlag">
            <a:extLst>
              <a:ext uri="{FF2B5EF4-FFF2-40B4-BE49-F238E27FC236}">
                <a16:creationId xmlns:a16="http://schemas.microsoft.com/office/drawing/2014/main" id="{C9176313-CA68-406B-AA52-DFE8681D609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56764">
            <a:off x="6395940" y="4689159"/>
            <a:ext cx="526887" cy="526887"/>
          </a:xfrm>
          <a:prstGeom prst="rect">
            <a:avLst/>
          </a:prstGeom>
        </p:spPr>
      </p:pic>
      <p:pic>
        <p:nvPicPr>
          <p:cNvPr id="68" name="Grafik 67" descr="Handschlag">
            <a:extLst>
              <a:ext uri="{FF2B5EF4-FFF2-40B4-BE49-F238E27FC236}">
                <a16:creationId xmlns:a16="http://schemas.microsoft.com/office/drawing/2014/main" id="{A7FE0F38-21ED-4702-BC7E-E991A6DBFDF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467916" y="4765408"/>
            <a:ext cx="526887" cy="52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37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lussdiagramm: Verbinder 14">
            <a:extLst>
              <a:ext uri="{FF2B5EF4-FFF2-40B4-BE49-F238E27FC236}">
                <a16:creationId xmlns:a16="http://schemas.microsoft.com/office/drawing/2014/main" id="{1FFE0F5E-A0DC-473E-A0F6-509519316902}"/>
              </a:ext>
            </a:extLst>
          </p:cNvPr>
          <p:cNvSpPr/>
          <p:nvPr/>
        </p:nvSpPr>
        <p:spPr>
          <a:xfrm>
            <a:off x="2045082" y="986666"/>
            <a:ext cx="5498720" cy="5394390"/>
          </a:xfrm>
          <a:prstGeom prst="flowChartConnector">
            <a:avLst/>
          </a:prstGeom>
          <a:solidFill>
            <a:schemeClr val="accent4">
              <a:lumMod val="90000"/>
            </a:schemeClr>
          </a:solidFill>
          <a:ln w="9525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indent="-180000" algn="ctr">
              <a:spcBef>
                <a:spcPts val="8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5600" y="488906"/>
            <a:ext cx="8496000" cy="738664"/>
          </a:xfrm>
        </p:spPr>
        <p:txBody>
          <a:bodyPr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„SCRUM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of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Scrum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“</a:t>
            </a:r>
            <a:br>
              <a:rPr lang="de-DE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de-DE" b="0" dirty="0">
                <a:solidFill>
                  <a:schemeClr val="bg1">
                    <a:lumMod val="50000"/>
                  </a:schemeClr>
                </a:solidFill>
              </a:rPr>
              <a:t>Komplexe Projekt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472" y="6650930"/>
            <a:ext cx="3996000" cy="107722"/>
          </a:xfrm>
        </p:spPr>
        <p:txBody>
          <a:bodyPr/>
          <a:lstStyle/>
          <a:p>
            <a:r>
              <a:rPr lang="de-DE" dirty="0"/>
              <a:t>MAN SE  |  MAN Truck &amp; Bus AG  |  Johanns Varela  |  07.11.2017  |  Cross Digital Projects (GDT)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255709" y="6650930"/>
            <a:ext cx="216024" cy="107722"/>
          </a:xfrm>
        </p:spPr>
        <p:txBody>
          <a:bodyPr/>
          <a:lstStyle/>
          <a:p>
            <a:fld id="{DBEFC974-4530-414C-ABF0-6A8CF7ECF32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Agiles Vorgehen &amp; Digitales Board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DDBD67F-F7C2-40F1-B7E0-9D3FBF5A88BB}"/>
              </a:ext>
            </a:extLst>
          </p:cNvPr>
          <p:cNvSpPr txBox="1"/>
          <p:nvPr/>
        </p:nvSpPr>
        <p:spPr>
          <a:xfrm>
            <a:off x="3950572" y="2927035"/>
            <a:ext cx="17960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800"/>
              </a:spcBef>
              <a:buClr>
                <a:schemeClr val="accent2"/>
              </a:buClr>
            </a:pPr>
            <a:r>
              <a:rPr lang="de-DE" sz="1600" b="1" dirty="0"/>
              <a:t>Lead </a:t>
            </a:r>
            <a:br>
              <a:rPr lang="de-DE" sz="1600" b="1" dirty="0"/>
            </a:br>
            <a:r>
              <a:rPr lang="de-DE" sz="1600" b="1" dirty="0" err="1"/>
              <a:t>Product</a:t>
            </a:r>
            <a:r>
              <a:rPr lang="de-DE" sz="1600" b="1" dirty="0"/>
              <a:t> </a:t>
            </a:r>
            <a:r>
              <a:rPr lang="de-DE" sz="1600" b="1" dirty="0" err="1"/>
              <a:t>Owner</a:t>
            </a:r>
            <a:endParaRPr lang="de-DE" sz="1600" b="1" dirty="0"/>
          </a:p>
        </p:txBody>
      </p:sp>
      <p:pic>
        <p:nvPicPr>
          <p:cNvPr id="62" name="Grafik 61" descr="Pfeil: Kurve im Uhrzeigersinn">
            <a:extLst>
              <a:ext uri="{FF2B5EF4-FFF2-40B4-BE49-F238E27FC236}">
                <a16:creationId xmlns:a16="http://schemas.microsoft.com/office/drawing/2014/main" id="{F7FE6B57-871B-479F-ABB8-77BF6A9D37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7862999">
            <a:off x="5754625" y="1075006"/>
            <a:ext cx="517683" cy="86065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03F1F67-B54A-4ACB-BFC4-AB24732BADE7}"/>
              </a:ext>
            </a:extLst>
          </p:cNvPr>
          <p:cNvGrpSpPr/>
          <p:nvPr/>
        </p:nvGrpSpPr>
        <p:grpSpPr>
          <a:xfrm>
            <a:off x="4594362" y="3600841"/>
            <a:ext cx="498982" cy="698707"/>
            <a:chOff x="5001524" y="3507518"/>
            <a:chExt cx="498982" cy="698707"/>
          </a:xfrm>
        </p:grpSpPr>
        <p:pic>
          <p:nvPicPr>
            <p:cNvPr id="47" name="Grafik 46" descr="Gehirn im Kopf">
              <a:extLst>
                <a:ext uri="{FF2B5EF4-FFF2-40B4-BE49-F238E27FC236}">
                  <a16:creationId xmlns:a16="http://schemas.microsoft.com/office/drawing/2014/main" id="{DCF08010-D4A0-466E-B6FA-482BFD79454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001524" y="3707243"/>
              <a:ext cx="498982" cy="498982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5" name="Grafik 64" descr="Krone">
              <a:extLst>
                <a:ext uri="{FF2B5EF4-FFF2-40B4-BE49-F238E27FC236}">
                  <a16:creationId xmlns:a16="http://schemas.microsoft.com/office/drawing/2014/main" id="{A6297D7C-A1B3-49A6-94EC-C242DF415EE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114587" y="3507518"/>
              <a:ext cx="223910" cy="22391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F170EB2A-B7A8-4178-B3F5-2F673510EE80}"/>
              </a:ext>
            </a:extLst>
          </p:cNvPr>
          <p:cNvGrpSpPr/>
          <p:nvPr/>
        </p:nvGrpSpPr>
        <p:grpSpPr>
          <a:xfrm>
            <a:off x="5514720" y="4216422"/>
            <a:ext cx="1039781" cy="1091115"/>
            <a:chOff x="5864001" y="4119736"/>
            <a:chExt cx="1039781" cy="1091115"/>
          </a:xfrm>
        </p:grpSpPr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288357E0-7AB6-421C-AC06-A8F59158A9FA}"/>
                </a:ext>
              </a:extLst>
            </p:cNvPr>
            <p:cNvGrpSpPr/>
            <p:nvPr/>
          </p:nvGrpSpPr>
          <p:grpSpPr>
            <a:xfrm rot="4740155">
              <a:off x="5838334" y="4145403"/>
              <a:ext cx="1091115" cy="1039781"/>
              <a:chOff x="1647099" y="692409"/>
              <a:chExt cx="5346741" cy="5230628"/>
            </a:xfrm>
          </p:grpSpPr>
          <p:sp>
            <p:nvSpPr>
              <p:cNvPr id="18" name="Flussdiagramm: Verbinder 17">
                <a:extLst>
                  <a:ext uri="{FF2B5EF4-FFF2-40B4-BE49-F238E27FC236}">
                    <a16:creationId xmlns:a16="http://schemas.microsoft.com/office/drawing/2014/main" id="{71E86F5B-7B51-4D3F-AF1B-04B4953AB1F9}"/>
                  </a:ext>
                </a:extLst>
              </p:cNvPr>
              <p:cNvSpPr/>
              <p:nvPr/>
            </p:nvSpPr>
            <p:spPr>
              <a:xfrm>
                <a:off x="1647099" y="692409"/>
                <a:ext cx="5346741" cy="5230628"/>
              </a:xfrm>
              <a:prstGeom prst="flowChartConnector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Träne 29">
                <a:extLst>
                  <a:ext uri="{FF2B5EF4-FFF2-40B4-BE49-F238E27FC236}">
                    <a16:creationId xmlns:a16="http://schemas.microsoft.com/office/drawing/2014/main" id="{761A5014-051E-4085-AFB1-57EBD398323A}"/>
                  </a:ext>
                </a:extLst>
              </p:cNvPr>
              <p:cNvSpPr/>
              <p:nvPr/>
            </p:nvSpPr>
            <p:spPr>
              <a:xfrm rot="8156576">
                <a:off x="3115930" y="1228430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accent2"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Träne 30">
                <a:extLst>
                  <a:ext uri="{FF2B5EF4-FFF2-40B4-BE49-F238E27FC236}">
                    <a16:creationId xmlns:a16="http://schemas.microsoft.com/office/drawing/2014/main" id="{66D84E24-84DF-44D8-B4C1-85816E844A04}"/>
                  </a:ext>
                </a:extLst>
              </p:cNvPr>
              <p:cNvSpPr/>
              <p:nvPr/>
            </p:nvSpPr>
            <p:spPr>
              <a:xfrm rot="15239572">
                <a:off x="3846686" y="2601005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tx2"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Träne 31">
                <a:extLst>
                  <a:ext uri="{FF2B5EF4-FFF2-40B4-BE49-F238E27FC236}">
                    <a16:creationId xmlns:a16="http://schemas.microsoft.com/office/drawing/2014/main" id="{2C485DBD-1F16-4A02-A324-25DDF403BE07}"/>
                  </a:ext>
                </a:extLst>
              </p:cNvPr>
              <p:cNvSpPr/>
              <p:nvPr/>
            </p:nvSpPr>
            <p:spPr>
              <a:xfrm rot="546602">
                <a:off x="2373969" y="2610202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tx1">
                  <a:lumMod val="60000"/>
                  <a:lumOff val="40000"/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43" name="Grafik 42" descr="Kinder">
              <a:extLst>
                <a:ext uri="{FF2B5EF4-FFF2-40B4-BE49-F238E27FC236}">
                  <a16:creationId xmlns:a16="http://schemas.microsoft.com/office/drawing/2014/main" id="{1C3A5264-422B-43D4-814C-79A3F06E609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203479" y="4807532"/>
              <a:ext cx="229559" cy="22955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5" name="Grafik 34" descr="Geschenk">
              <a:extLst>
                <a:ext uri="{FF2B5EF4-FFF2-40B4-BE49-F238E27FC236}">
                  <a16:creationId xmlns:a16="http://schemas.microsoft.com/office/drawing/2014/main" id="{92752E9A-FF42-4EC9-AF78-085EC72F02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327334" y="4599009"/>
              <a:ext cx="116765" cy="11676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0" name="Grafik 89" descr="Callcenter">
              <a:extLst>
                <a:ext uri="{FF2B5EF4-FFF2-40B4-BE49-F238E27FC236}">
                  <a16:creationId xmlns:a16="http://schemas.microsoft.com/office/drawing/2014/main" id="{0B9ABA47-0882-43C2-BF3F-BA5676C5E1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557140" y="4506336"/>
              <a:ext cx="196160" cy="19616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3" name="Grafik 102" descr="Gehirn im Kopf">
              <a:extLst>
                <a:ext uri="{FF2B5EF4-FFF2-40B4-BE49-F238E27FC236}">
                  <a16:creationId xmlns:a16="http://schemas.microsoft.com/office/drawing/2014/main" id="{9C5C1FBC-E5C6-4A57-ADBA-7EAB79F651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122098" y="4363054"/>
              <a:ext cx="172153" cy="17215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2B8E8C13-1F02-4BD5-B87D-9061BA1C1C53}"/>
              </a:ext>
            </a:extLst>
          </p:cNvPr>
          <p:cNvGrpSpPr/>
          <p:nvPr/>
        </p:nvGrpSpPr>
        <p:grpSpPr>
          <a:xfrm>
            <a:off x="4216170" y="4669240"/>
            <a:ext cx="1039781" cy="1091115"/>
            <a:chOff x="4565451" y="4572554"/>
            <a:chExt cx="1039781" cy="1091115"/>
          </a:xfrm>
        </p:grpSpPr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65C1DDCA-729C-4306-AA77-784EE183C5F5}"/>
                </a:ext>
              </a:extLst>
            </p:cNvPr>
            <p:cNvGrpSpPr/>
            <p:nvPr/>
          </p:nvGrpSpPr>
          <p:grpSpPr>
            <a:xfrm rot="7185506">
              <a:off x="4539784" y="4598221"/>
              <a:ext cx="1091115" cy="1039781"/>
              <a:chOff x="1647099" y="692409"/>
              <a:chExt cx="5346741" cy="5230628"/>
            </a:xfrm>
          </p:grpSpPr>
          <p:sp>
            <p:nvSpPr>
              <p:cNvPr id="36" name="Flussdiagramm: Verbinder 35">
                <a:extLst>
                  <a:ext uri="{FF2B5EF4-FFF2-40B4-BE49-F238E27FC236}">
                    <a16:creationId xmlns:a16="http://schemas.microsoft.com/office/drawing/2014/main" id="{D980BE5B-E5C7-41BC-8FE3-AF5E0558560E}"/>
                  </a:ext>
                </a:extLst>
              </p:cNvPr>
              <p:cNvSpPr/>
              <p:nvPr/>
            </p:nvSpPr>
            <p:spPr>
              <a:xfrm>
                <a:off x="1647099" y="692409"/>
                <a:ext cx="5346741" cy="5230628"/>
              </a:xfrm>
              <a:prstGeom prst="flowChartConnector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Träne 36">
                <a:extLst>
                  <a:ext uri="{FF2B5EF4-FFF2-40B4-BE49-F238E27FC236}">
                    <a16:creationId xmlns:a16="http://schemas.microsoft.com/office/drawing/2014/main" id="{33D47635-278C-4D3C-986E-0C75A7010150}"/>
                  </a:ext>
                </a:extLst>
              </p:cNvPr>
              <p:cNvSpPr/>
              <p:nvPr/>
            </p:nvSpPr>
            <p:spPr>
              <a:xfrm rot="8156576">
                <a:off x="3115930" y="1228430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accent2"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Träne 37">
                <a:extLst>
                  <a:ext uri="{FF2B5EF4-FFF2-40B4-BE49-F238E27FC236}">
                    <a16:creationId xmlns:a16="http://schemas.microsoft.com/office/drawing/2014/main" id="{9791C826-9372-4620-BD90-10C1D846BBED}"/>
                  </a:ext>
                </a:extLst>
              </p:cNvPr>
              <p:cNvSpPr/>
              <p:nvPr/>
            </p:nvSpPr>
            <p:spPr>
              <a:xfrm rot="15239572">
                <a:off x="3846686" y="2601005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tx2"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Träne 38">
                <a:extLst>
                  <a:ext uri="{FF2B5EF4-FFF2-40B4-BE49-F238E27FC236}">
                    <a16:creationId xmlns:a16="http://schemas.microsoft.com/office/drawing/2014/main" id="{591953DD-36DC-4E8B-BFC1-5739CB1C63B1}"/>
                  </a:ext>
                </a:extLst>
              </p:cNvPr>
              <p:cNvSpPr/>
              <p:nvPr/>
            </p:nvSpPr>
            <p:spPr>
              <a:xfrm rot="546602">
                <a:off x="2373969" y="2610202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tx1">
                  <a:lumMod val="60000"/>
                  <a:lumOff val="40000"/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7609F4C2-0245-40E0-86C0-7D06B002F590}"/>
                </a:ext>
              </a:extLst>
            </p:cNvPr>
            <p:cNvGrpSpPr/>
            <p:nvPr/>
          </p:nvGrpSpPr>
          <p:grpSpPr>
            <a:xfrm>
              <a:off x="4755380" y="4754063"/>
              <a:ext cx="655708" cy="621722"/>
              <a:chOff x="4755380" y="4754063"/>
              <a:chExt cx="655708" cy="621722"/>
            </a:xfrm>
          </p:grpSpPr>
          <p:pic>
            <p:nvPicPr>
              <p:cNvPr id="89" name="Grafik 88" descr="Callcenter">
                <a:extLst>
                  <a:ext uri="{FF2B5EF4-FFF2-40B4-BE49-F238E27FC236}">
                    <a16:creationId xmlns:a16="http://schemas.microsoft.com/office/drawing/2014/main" id="{BE75B35F-3F97-46D3-B4FC-8D80F47D19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5214928" y="5118111"/>
                <a:ext cx="196160" cy="196160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91" name="Grafik 90" descr="Geschenk">
                <a:extLst>
                  <a:ext uri="{FF2B5EF4-FFF2-40B4-BE49-F238E27FC236}">
                    <a16:creationId xmlns:a16="http://schemas.microsoft.com/office/drawing/2014/main" id="{A636FAD6-0CBA-4B30-923C-E588193537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5026958" y="5037579"/>
                <a:ext cx="116765" cy="116765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97" name="Grafik 96" descr="Kinder">
                <a:extLst>
                  <a:ext uri="{FF2B5EF4-FFF2-40B4-BE49-F238E27FC236}">
                    <a16:creationId xmlns:a16="http://schemas.microsoft.com/office/drawing/2014/main" id="{9AEBC9ED-C51F-420B-970C-39437F7FDC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4755380" y="5146226"/>
                <a:ext cx="229559" cy="22955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4" name="Grafik 103" descr="Gehirn im Kopf">
                <a:extLst>
                  <a:ext uri="{FF2B5EF4-FFF2-40B4-BE49-F238E27FC236}">
                    <a16:creationId xmlns:a16="http://schemas.microsoft.com/office/drawing/2014/main" id="{2E633AE5-8D27-4B26-8E13-3D446279A0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006922" y="4754063"/>
                <a:ext cx="172153" cy="172153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0B530E33-4B0A-43A9-88CC-B97EEC0DEAD6}"/>
              </a:ext>
            </a:extLst>
          </p:cNvPr>
          <p:cNvGrpSpPr/>
          <p:nvPr/>
        </p:nvGrpSpPr>
        <p:grpSpPr>
          <a:xfrm>
            <a:off x="2965272" y="4079001"/>
            <a:ext cx="1091115" cy="1039781"/>
            <a:chOff x="3314553" y="3982315"/>
            <a:chExt cx="1091115" cy="1039781"/>
          </a:xfrm>
        </p:grpSpPr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FC65FF7D-5233-42ED-980B-3FE98F15C5B5}"/>
                </a:ext>
              </a:extLst>
            </p:cNvPr>
            <p:cNvGrpSpPr/>
            <p:nvPr/>
          </p:nvGrpSpPr>
          <p:grpSpPr>
            <a:xfrm rot="10002521">
              <a:off x="3314553" y="3982315"/>
              <a:ext cx="1091115" cy="1039781"/>
              <a:chOff x="1647099" y="692409"/>
              <a:chExt cx="5346741" cy="5230628"/>
            </a:xfrm>
          </p:grpSpPr>
          <p:sp>
            <p:nvSpPr>
              <p:cNvPr id="41" name="Flussdiagramm: Verbinder 40">
                <a:extLst>
                  <a:ext uri="{FF2B5EF4-FFF2-40B4-BE49-F238E27FC236}">
                    <a16:creationId xmlns:a16="http://schemas.microsoft.com/office/drawing/2014/main" id="{B8EDD32E-EB87-4BBA-99C8-80177DC4BDA4}"/>
                  </a:ext>
                </a:extLst>
              </p:cNvPr>
              <p:cNvSpPr/>
              <p:nvPr/>
            </p:nvSpPr>
            <p:spPr>
              <a:xfrm>
                <a:off x="1647099" y="692409"/>
                <a:ext cx="5346741" cy="5230628"/>
              </a:xfrm>
              <a:prstGeom prst="flowChartConnector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Träne 41">
                <a:extLst>
                  <a:ext uri="{FF2B5EF4-FFF2-40B4-BE49-F238E27FC236}">
                    <a16:creationId xmlns:a16="http://schemas.microsoft.com/office/drawing/2014/main" id="{4F506E84-A071-4D50-8750-68C29A911C53}"/>
                  </a:ext>
                </a:extLst>
              </p:cNvPr>
              <p:cNvSpPr/>
              <p:nvPr/>
            </p:nvSpPr>
            <p:spPr>
              <a:xfrm rot="8156576">
                <a:off x="3115930" y="1228430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accent2"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Träne 43">
                <a:extLst>
                  <a:ext uri="{FF2B5EF4-FFF2-40B4-BE49-F238E27FC236}">
                    <a16:creationId xmlns:a16="http://schemas.microsoft.com/office/drawing/2014/main" id="{EAF21623-A22B-4288-A9E8-207B16327ED6}"/>
                  </a:ext>
                </a:extLst>
              </p:cNvPr>
              <p:cNvSpPr/>
              <p:nvPr/>
            </p:nvSpPr>
            <p:spPr>
              <a:xfrm rot="15239572">
                <a:off x="3846686" y="2601005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tx2"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Träne 45">
                <a:extLst>
                  <a:ext uri="{FF2B5EF4-FFF2-40B4-BE49-F238E27FC236}">
                    <a16:creationId xmlns:a16="http://schemas.microsoft.com/office/drawing/2014/main" id="{DDBBDC08-F914-449C-9F0F-3754ED35C154}"/>
                  </a:ext>
                </a:extLst>
              </p:cNvPr>
              <p:cNvSpPr/>
              <p:nvPr/>
            </p:nvSpPr>
            <p:spPr>
              <a:xfrm rot="546602">
                <a:off x="2373969" y="2610202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tx1">
                  <a:lumMod val="60000"/>
                  <a:lumOff val="40000"/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88" name="Grafik 87" descr="Callcenter">
              <a:extLst>
                <a:ext uri="{FF2B5EF4-FFF2-40B4-BE49-F238E27FC236}">
                  <a16:creationId xmlns:a16="http://schemas.microsoft.com/office/drawing/2014/main" id="{16CDB1F0-AB80-4BD6-826F-C665992CFB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813411" y="4637038"/>
              <a:ext cx="196160" cy="19616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2" name="Grafik 91" descr="Geschenk">
              <a:extLst>
                <a:ext uri="{FF2B5EF4-FFF2-40B4-BE49-F238E27FC236}">
                  <a16:creationId xmlns:a16="http://schemas.microsoft.com/office/drawing/2014/main" id="{F2A4FBAE-F9DF-42B4-A4E4-95F61ADEF3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801727" y="4418442"/>
              <a:ext cx="116765" cy="11676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0" name="Grafik 99" descr="Kinder">
              <a:extLst>
                <a:ext uri="{FF2B5EF4-FFF2-40B4-BE49-F238E27FC236}">
                  <a16:creationId xmlns:a16="http://schemas.microsoft.com/office/drawing/2014/main" id="{5A2D231B-0C4F-4B11-BF46-2494774C5CF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493202" y="4313516"/>
              <a:ext cx="229559" cy="22955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5" name="Grafik 104" descr="Gehirn im Kopf">
              <a:extLst>
                <a:ext uri="{FF2B5EF4-FFF2-40B4-BE49-F238E27FC236}">
                  <a16:creationId xmlns:a16="http://schemas.microsoft.com/office/drawing/2014/main" id="{CDE1F3D3-3609-4CD9-8841-FB49444B31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973202" y="4234050"/>
              <a:ext cx="172153" cy="17215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831A1089-5C8B-4627-B366-8EEA52875957}"/>
              </a:ext>
            </a:extLst>
          </p:cNvPr>
          <p:cNvGrpSpPr/>
          <p:nvPr/>
        </p:nvGrpSpPr>
        <p:grpSpPr>
          <a:xfrm>
            <a:off x="2694784" y="2705770"/>
            <a:ext cx="1039781" cy="1091115"/>
            <a:chOff x="3044065" y="2609084"/>
            <a:chExt cx="1039781" cy="1091115"/>
          </a:xfrm>
        </p:grpSpPr>
        <p:grpSp>
          <p:nvGrpSpPr>
            <p:cNvPr id="70" name="Gruppieren 69">
              <a:extLst>
                <a:ext uri="{FF2B5EF4-FFF2-40B4-BE49-F238E27FC236}">
                  <a16:creationId xmlns:a16="http://schemas.microsoft.com/office/drawing/2014/main" id="{A33ADFC5-05C3-4DBD-A606-166B55BD8640}"/>
                </a:ext>
              </a:extLst>
            </p:cNvPr>
            <p:cNvGrpSpPr/>
            <p:nvPr/>
          </p:nvGrpSpPr>
          <p:grpSpPr>
            <a:xfrm rot="14325626">
              <a:off x="3018398" y="2634751"/>
              <a:ext cx="1091115" cy="1039781"/>
              <a:chOff x="1647099" y="692409"/>
              <a:chExt cx="5346741" cy="5230628"/>
            </a:xfrm>
          </p:grpSpPr>
          <p:sp>
            <p:nvSpPr>
              <p:cNvPr id="71" name="Flussdiagramm: Verbinder 70">
                <a:extLst>
                  <a:ext uri="{FF2B5EF4-FFF2-40B4-BE49-F238E27FC236}">
                    <a16:creationId xmlns:a16="http://schemas.microsoft.com/office/drawing/2014/main" id="{B9B8E2A9-E03A-4704-A795-B245B442F453}"/>
                  </a:ext>
                </a:extLst>
              </p:cNvPr>
              <p:cNvSpPr/>
              <p:nvPr/>
            </p:nvSpPr>
            <p:spPr>
              <a:xfrm>
                <a:off x="1647099" y="692409"/>
                <a:ext cx="5346741" cy="5230628"/>
              </a:xfrm>
              <a:prstGeom prst="flowChartConnector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72" name="Träne 71">
                <a:extLst>
                  <a:ext uri="{FF2B5EF4-FFF2-40B4-BE49-F238E27FC236}">
                    <a16:creationId xmlns:a16="http://schemas.microsoft.com/office/drawing/2014/main" id="{C576BA1A-AEFF-4E59-B477-E4E35C949300}"/>
                  </a:ext>
                </a:extLst>
              </p:cNvPr>
              <p:cNvSpPr/>
              <p:nvPr/>
            </p:nvSpPr>
            <p:spPr>
              <a:xfrm rot="8156576">
                <a:off x="3115930" y="1228430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accent2"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Träne 72">
                <a:extLst>
                  <a:ext uri="{FF2B5EF4-FFF2-40B4-BE49-F238E27FC236}">
                    <a16:creationId xmlns:a16="http://schemas.microsoft.com/office/drawing/2014/main" id="{BC349583-BC47-453A-AB8D-041732732B76}"/>
                  </a:ext>
                </a:extLst>
              </p:cNvPr>
              <p:cNvSpPr/>
              <p:nvPr/>
            </p:nvSpPr>
            <p:spPr>
              <a:xfrm rot="15239572">
                <a:off x="3846686" y="2601005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tx2"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4" name="Träne 73">
                <a:extLst>
                  <a:ext uri="{FF2B5EF4-FFF2-40B4-BE49-F238E27FC236}">
                    <a16:creationId xmlns:a16="http://schemas.microsoft.com/office/drawing/2014/main" id="{BDDC5E5D-1B6E-4FEC-96AA-86485992938F}"/>
                  </a:ext>
                </a:extLst>
              </p:cNvPr>
              <p:cNvSpPr/>
              <p:nvPr/>
            </p:nvSpPr>
            <p:spPr>
              <a:xfrm rot="546602">
                <a:off x="2373969" y="2610202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tx1">
                  <a:lumMod val="60000"/>
                  <a:lumOff val="40000"/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87" name="Grafik 86" descr="Callcenter">
              <a:extLst>
                <a:ext uri="{FF2B5EF4-FFF2-40B4-BE49-F238E27FC236}">
                  <a16:creationId xmlns:a16="http://schemas.microsoft.com/office/drawing/2014/main" id="{E1F045D1-486E-4FC2-97B7-C5F6A59250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257785" y="3190427"/>
              <a:ext cx="196160" cy="19616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6" name="Grafik 95" descr="Geschenk">
              <a:extLst>
                <a:ext uri="{FF2B5EF4-FFF2-40B4-BE49-F238E27FC236}">
                  <a16:creationId xmlns:a16="http://schemas.microsoft.com/office/drawing/2014/main" id="{87FFC52E-1879-4D5F-A45B-BF8C62B6CB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511306" y="3088178"/>
              <a:ext cx="116765" cy="11676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1" name="Grafik 100" descr="Kinder">
              <a:extLst>
                <a:ext uri="{FF2B5EF4-FFF2-40B4-BE49-F238E27FC236}">
                  <a16:creationId xmlns:a16="http://schemas.microsoft.com/office/drawing/2014/main" id="{04107448-D4FD-46C0-9F60-5B425B38AE0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432987" y="2767603"/>
              <a:ext cx="229559" cy="22955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6" name="Grafik 105" descr="Gehirn im Kopf">
              <a:extLst>
                <a:ext uri="{FF2B5EF4-FFF2-40B4-BE49-F238E27FC236}">
                  <a16:creationId xmlns:a16="http://schemas.microsoft.com/office/drawing/2014/main" id="{B9543086-5058-42B5-B90B-905B6009C48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731675" y="3202430"/>
              <a:ext cx="172153" cy="17215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07613C86-6D1F-4941-AAAF-CCFC4820730C}"/>
              </a:ext>
            </a:extLst>
          </p:cNvPr>
          <p:cNvGrpSpPr/>
          <p:nvPr/>
        </p:nvGrpSpPr>
        <p:grpSpPr>
          <a:xfrm>
            <a:off x="5835324" y="2867131"/>
            <a:ext cx="1091115" cy="1039781"/>
            <a:chOff x="6184605" y="2770445"/>
            <a:chExt cx="1091115" cy="1039781"/>
          </a:xfrm>
        </p:grpSpPr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7387B3AF-3657-4DC4-83E6-FB2F38296047}"/>
                </a:ext>
              </a:extLst>
            </p:cNvPr>
            <p:cNvGrpSpPr/>
            <p:nvPr/>
          </p:nvGrpSpPr>
          <p:grpSpPr>
            <a:xfrm rot="1846541">
              <a:off x="6184605" y="2770445"/>
              <a:ext cx="1091115" cy="1039781"/>
              <a:chOff x="1647099" y="692409"/>
              <a:chExt cx="5346741" cy="5230628"/>
            </a:xfrm>
          </p:grpSpPr>
          <p:sp>
            <p:nvSpPr>
              <p:cNvPr id="51" name="Flussdiagramm: Verbinder 50">
                <a:extLst>
                  <a:ext uri="{FF2B5EF4-FFF2-40B4-BE49-F238E27FC236}">
                    <a16:creationId xmlns:a16="http://schemas.microsoft.com/office/drawing/2014/main" id="{97D222EB-AFC1-46BA-B820-20FC90525B11}"/>
                  </a:ext>
                </a:extLst>
              </p:cNvPr>
              <p:cNvSpPr/>
              <p:nvPr/>
            </p:nvSpPr>
            <p:spPr>
              <a:xfrm>
                <a:off x="1647099" y="692409"/>
                <a:ext cx="5346741" cy="5230628"/>
              </a:xfrm>
              <a:prstGeom prst="flowChartConnector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3" name="Träne 52">
                <a:extLst>
                  <a:ext uri="{FF2B5EF4-FFF2-40B4-BE49-F238E27FC236}">
                    <a16:creationId xmlns:a16="http://schemas.microsoft.com/office/drawing/2014/main" id="{D7DA5205-5104-49DA-9DF4-F14C9100B485}"/>
                  </a:ext>
                </a:extLst>
              </p:cNvPr>
              <p:cNvSpPr/>
              <p:nvPr/>
            </p:nvSpPr>
            <p:spPr>
              <a:xfrm rot="8156576">
                <a:off x="3115930" y="1228430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accent2"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Träne 56">
                <a:extLst>
                  <a:ext uri="{FF2B5EF4-FFF2-40B4-BE49-F238E27FC236}">
                    <a16:creationId xmlns:a16="http://schemas.microsoft.com/office/drawing/2014/main" id="{0ED3BDAF-91AC-4F71-B846-B0825F1B7F87}"/>
                  </a:ext>
                </a:extLst>
              </p:cNvPr>
              <p:cNvSpPr/>
              <p:nvPr/>
            </p:nvSpPr>
            <p:spPr>
              <a:xfrm rot="15239572">
                <a:off x="3846686" y="2601005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tx2"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1" name="Träne 60">
                <a:extLst>
                  <a:ext uri="{FF2B5EF4-FFF2-40B4-BE49-F238E27FC236}">
                    <a16:creationId xmlns:a16="http://schemas.microsoft.com/office/drawing/2014/main" id="{B9401DD1-FCBE-482C-84E0-742CEA49DEF5}"/>
                  </a:ext>
                </a:extLst>
              </p:cNvPr>
              <p:cNvSpPr/>
              <p:nvPr/>
            </p:nvSpPr>
            <p:spPr>
              <a:xfrm rot="546602">
                <a:off x="2373969" y="2610202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tx1">
                  <a:lumMod val="60000"/>
                  <a:lumOff val="40000"/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45" name="Grafik 44" descr="Callcenter">
              <a:extLst>
                <a:ext uri="{FF2B5EF4-FFF2-40B4-BE49-F238E27FC236}">
                  <a16:creationId xmlns:a16="http://schemas.microsoft.com/office/drawing/2014/main" id="{20AF69AE-08D8-4526-ADAB-974847A70C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781977" y="2950401"/>
              <a:ext cx="196160" cy="19616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3" name="Grafik 92" descr="Geschenk">
              <a:extLst>
                <a:ext uri="{FF2B5EF4-FFF2-40B4-BE49-F238E27FC236}">
                  <a16:creationId xmlns:a16="http://schemas.microsoft.com/office/drawing/2014/main" id="{AB5C2EBD-7A1E-4E40-8B3D-0A7BA675A8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671779" y="3222620"/>
              <a:ext cx="116765" cy="11676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8" name="Grafik 97" descr="Kinder">
              <a:extLst>
                <a:ext uri="{FF2B5EF4-FFF2-40B4-BE49-F238E27FC236}">
                  <a16:creationId xmlns:a16="http://schemas.microsoft.com/office/drawing/2014/main" id="{E8C4BBBA-3E2B-4175-9B0E-35293C8C721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767947" y="3405448"/>
              <a:ext cx="229559" cy="22955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7" name="Grafik 106" descr="Gehirn im Kopf">
              <a:extLst>
                <a:ext uri="{FF2B5EF4-FFF2-40B4-BE49-F238E27FC236}">
                  <a16:creationId xmlns:a16="http://schemas.microsoft.com/office/drawing/2014/main" id="{F930F3B7-EBE2-47C4-8676-268394AF0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383891" y="3204943"/>
              <a:ext cx="172153" cy="17215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BB10B52-77C4-4D51-8557-772E30C889AF}"/>
              </a:ext>
            </a:extLst>
          </p:cNvPr>
          <p:cNvGrpSpPr/>
          <p:nvPr/>
        </p:nvGrpSpPr>
        <p:grpSpPr>
          <a:xfrm>
            <a:off x="5166190" y="1669602"/>
            <a:ext cx="1091115" cy="1039781"/>
            <a:chOff x="5515471" y="1572916"/>
            <a:chExt cx="1091115" cy="1039781"/>
          </a:xfrm>
        </p:grpSpPr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AE6A7665-714C-4719-A22F-9466AA65A75D}"/>
                </a:ext>
              </a:extLst>
            </p:cNvPr>
            <p:cNvGrpSpPr/>
            <p:nvPr/>
          </p:nvGrpSpPr>
          <p:grpSpPr>
            <a:xfrm rot="20379342">
              <a:off x="5515471" y="1572916"/>
              <a:ext cx="1091115" cy="1039781"/>
              <a:chOff x="1647099" y="692409"/>
              <a:chExt cx="5346741" cy="5230628"/>
            </a:xfrm>
          </p:grpSpPr>
          <p:sp>
            <p:nvSpPr>
              <p:cNvPr id="81" name="Flussdiagramm: Verbinder 80">
                <a:extLst>
                  <a:ext uri="{FF2B5EF4-FFF2-40B4-BE49-F238E27FC236}">
                    <a16:creationId xmlns:a16="http://schemas.microsoft.com/office/drawing/2014/main" id="{07D94410-12FB-4527-A54A-A4D044C47208}"/>
                  </a:ext>
                </a:extLst>
              </p:cNvPr>
              <p:cNvSpPr/>
              <p:nvPr/>
            </p:nvSpPr>
            <p:spPr>
              <a:xfrm>
                <a:off x="1647099" y="692409"/>
                <a:ext cx="5346741" cy="5230628"/>
              </a:xfrm>
              <a:prstGeom prst="flowChartConnector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Träne 81">
                <a:extLst>
                  <a:ext uri="{FF2B5EF4-FFF2-40B4-BE49-F238E27FC236}">
                    <a16:creationId xmlns:a16="http://schemas.microsoft.com/office/drawing/2014/main" id="{0DF89467-E278-4986-92A0-C0E38C55526C}"/>
                  </a:ext>
                </a:extLst>
              </p:cNvPr>
              <p:cNvSpPr/>
              <p:nvPr/>
            </p:nvSpPr>
            <p:spPr>
              <a:xfrm rot="8156576">
                <a:off x="3115930" y="1228430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accent2"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Träne 82">
                <a:extLst>
                  <a:ext uri="{FF2B5EF4-FFF2-40B4-BE49-F238E27FC236}">
                    <a16:creationId xmlns:a16="http://schemas.microsoft.com/office/drawing/2014/main" id="{1534FBF2-D19C-440C-9456-CBF498DB3DB7}"/>
                  </a:ext>
                </a:extLst>
              </p:cNvPr>
              <p:cNvSpPr/>
              <p:nvPr/>
            </p:nvSpPr>
            <p:spPr>
              <a:xfrm rot="15239572">
                <a:off x="3846686" y="2601005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tx2"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Träne 83">
                <a:extLst>
                  <a:ext uri="{FF2B5EF4-FFF2-40B4-BE49-F238E27FC236}">
                    <a16:creationId xmlns:a16="http://schemas.microsoft.com/office/drawing/2014/main" id="{7EB63173-33C9-44F4-9F4A-6E7CC3BE56B1}"/>
                  </a:ext>
                </a:extLst>
              </p:cNvPr>
              <p:cNvSpPr/>
              <p:nvPr/>
            </p:nvSpPr>
            <p:spPr>
              <a:xfrm rot="546602">
                <a:off x="2373969" y="2610202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tx1">
                  <a:lumMod val="60000"/>
                  <a:lumOff val="40000"/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85" name="Grafik 84" descr="Callcenter">
              <a:extLst>
                <a:ext uri="{FF2B5EF4-FFF2-40B4-BE49-F238E27FC236}">
                  <a16:creationId xmlns:a16="http://schemas.microsoft.com/office/drawing/2014/main" id="{0F3697EB-1CEF-42B8-BF65-CB2DFB044A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880412" y="1730253"/>
              <a:ext cx="196160" cy="19616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4" name="Grafik 93" descr="Geschenk">
              <a:extLst>
                <a:ext uri="{FF2B5EF4-FFF2-40B4-BE49-F238E27FC236}">
                  <a16:creationId xmlns:a16="http://schemas.microsoft.com/office/drawing/2014/main" id="{7F1D67DE-173A-4894-8F4A-F07E5938E5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003949" y="2033301"/>
              <a:ext cx="116765" cy="11676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9" name="Grafik 98" descr="Kinder">
              <a:extLst>
                <a:ext uri="{FF2B5EF4-FFF2-40B4-BE49-F238E27FC236}">
                  <a16:creationId xmlns:a16="http://schemas.microsoft.com/office/drawing/2014/main" id="{781C8A77-337C-4DA9-A828-360D5554B83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214428" y="2007038"/>
              <a:ext cx="229559" cy="22955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8" name="Grafik 107" descr="Gehirn im Kopf">
              <a:extLst>
                <a:ext uri="{FF2B5EF4-FFF2-40B4-BE49-F238E27FC236}">
                  <a16:creationId xmlns:a16="http://schemas.microsoft.com/office/drawing/2014/main" id="{782D2E79-DC4E-44D2-B044-D43AAE0EBFF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810987" y="2222251"/>
              <a:ext cx="172153" cy="17215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0705035-0E6C-4D86-81FF-B587072CF688}"/>
              </a:ext>
            </a:extLst>
          </p:cNvPr>
          <p:cNvGrpSpPr/>
          <p:nvPr/>
        </p:nvGrpSpPr>
        <p:grpSpPr>
          <a:xfrm>
            <a:off x="3726229" y="1595408"/>
            <a:ext cx="1039781" cy="1091115"/>
            <a:chOff x="4075510" y="1498722"/>
            <a:chExt cx="1039781" cy="1091115"/>
          </a:xfrm>
        </p:grpSpPr>
        <p:grpSp>
          <p:nvGrpSpPr>
            <p:cNvPr id="75" name="Gruppieren 74">
              <a:extLst>
                <a:ext uri="{FF2B5EF4-FFF2-40B4-BE49-F238E27FC236}">
                  <a16:creationId xmlns:a16="http://schemas.microsoft.com/office/drawing/2014/main" id="{77068F25-8E64-478B-979B-1652E6CBACD1}"/>
                </a:ext>
              </a:extLst>
            </p:cNvPr>
            <p:cNvGrpSpPr/>
            <p:nvPr/>
          </p:nvGrpSpPr>
          <p:grpSpPr>
            <a:xfrm rot="17229761">
              <a:off x="4049843" y="1524389"/>
              <a:ext cx="1091115" cy="1039781"/>
              <a:chOff x="1647099" y="692409"/>
              <a:chExt cx="5346741" cy="5230628"/>
            </a:xfrm>
          </p:grpSpPr>
          <p:sp>
            <p:nvSpPr>
              <p:cNvPr id="76" name="Flussdiagramm: Verbinder 75">
                <a:extLst>
                  <a:ext uri="{FF2B5EF4-FFF2-40B4-BE49-F238E27FC236}">
                    <a16:creationId xmlns:a16="http://schemas.microsoft.com/office/drawing/2014/main" id="{572318F9-EC9A-4E2D-82D9-637E7EC05268}"/>
                  </a:ext>
                </a:extLst>
              </p:cNvPr>
              <p:cNvSpPr/>
              <p:nvPr/>
            </p:nvSpPr>
            <p:spPr>
              <a:xfrm>
                <a:off x="1647099" y="692409"/>
                <a:ext cx="5346741" cy="5230628"/>
              </a:xfrm>
              <a:prstGeom prst="flowChartConnector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Träne 76">
                <a:extLst>
                  <a:ext uri="{FF2B5EF4-FFF2-40B4-BE49-F238E27FC236}">
                    <a16:creationId xmlns:a16="http://schemas.microsoft.com/office/drawing/2014/main" id="{462DE4ED-283F-4150-8ECA-4AF03D3E0C12}"/>
                  </a:ext>
                </a:extLst>
              </p:cNvPr>
              <p:cNvSpPr/>
              <p:nvPr/>
            </p:nvSpPr>
            <p:spPr>
              <a:xfrm rot="8156576">
                <a:off x="3115930" y="1228430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accent2"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8" name="Träne 77">
                <a:extLst>
                  <a:ext uri="{FF2B5EF4-FFF2-40B4-BE49-F238E27FC236}">
                    <a16:creationId xmlns:a16="http://schemas.microsoft.com/office/drawing/2014/main" id="{F82E242E-AC00-4265-A58F-7BA55AEFD0E3}"/>
                  </a:ext>
                </a:extLst>
              </p:cNvPr>
              <p:cNvSpPr/>
              <p:nvPr/>
            </p:nvSpPr>
            <p:spPr>
              <a:xfrm rot="15239572">
                <a:off x="3846686" y="2601005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tx2"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Träne 78">
                <a:extLst>
                  <a:ext uri="{FF2B5EF4-FFF2-40B4-BE49-F238E27FC236}">
                    <a16:creationId xmlns:a16="http://schemas.microsoft.com/office/drawing/2014/main" id="{40A166AB-BB81-4E4D-ADA0-A163C4D23439}"/>
                  </a:ext>
                </a:extLst>
              </p:cNvPr>
              <p:cNvSpPr/>
              <p:nvPr/>
            </p:nvSpPr>
            <p:spPr>
              <a:xfrm rot="546602">
                <a:off x="2373969" y="2610202"/>
                <a:ext cx="2409081" cy="2373124"/>
              </a:xfrm>
              <a:prstGeom prst="teardrop">
                <a:avLst>
                  <a:gd name="adj" fmla="val 84134"/>
                </a:avLst>
              </a:prstGeom>
              <a:solidFill>
                <a:schemeClr val="tx1">
                  <a:lumMod val="60000"/>
                  <a:lumOff val="40000"/>
                  <a:alpha val="6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86" name="Grafik 85" descr="Callcenter">
              <a:extLst>
                <a:ext uri="{FF2B5EF4-FFF2-40B4-BE49-F238E27FC236}">
                  <a16:creationId xmlns:a16="http://schemas.microsoft.com/office/drawing/2014/main" id="{81CC925C-29C0-43C6-A2FC-DD1AC26E42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258830" y="1848119"/>
              <a:ext cx="196160" cy="19616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5" name="Grafik 94" descr="Geschenk">
              <a:extLst>
                <a:ext uri="{FF2B5EF4-FFF2-40B4-BE49-F238E27FC236}">
                  <a16:creationId xmlns:a16="http://schemas.microsoft.com/office/drawing/2014/main" id="{A4BC9A8D-FA24-4A3F-8C65-40E2F92003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542875" y="1988060"/>
              <a:ext cx="116765" cy="11676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2" name="Grafik 101" descr="Kinder">
              <a:extLst>
                <a:ext uri="{FF2B5EF4-FFF2-40B4-BE49-F238E27FC236}">
                  <a16:creationId xmlns:a16="http://schemas.microsoft.com/office/drawing/2014/main" id="{BA5C5E5F-CD4F-4E4A-AEBD-478386B15B0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698151" y="1767730"/>
              <a:ext cx="229559" cy="22955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9" name="Grafik 108" descr="Gehirn im Kopf">
              <a:extLst>
                <a:ext uri="{FF2B5EF4-FFF2-40B4-BE49-F238E27FC236}">
                  <a16:creationId xmlns:a16="http://schemas.microsoft.com/office/drawing/2014/main" id="{424EF765-A024-432F-B502-2365C2109CD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85782" y="2229309"/>
              <a:ext cx="172153" cy="17215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110" name="Grafik 109" descr="Pfeil: Kurve im Uhrzeigersinn">
            <a:extLst>
              <a:ext uri="{FF2B5EF4-FFF2-40B4-BE49-F238E27FC236}">
                <a16:creationId xmlns:a16="http://schemas.microsoft.com/office/drawing/2014/main" id="{2FB4E8A6-1EA2-4D51-9CF1-94D56F6C86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7841346">
            <a:off x="3874374" y="5548167"/>
            <a:ext cx="517683" cy="86065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1" name="Grafik 110" descr="Pfeil: Kurve im Uhrzeigersinn">
            <a:extLst>
              <a:ext uri="{FF2B5EF4-FFF2-40B4-BE49-F238E27FC236}">
                <a16:creationId xmlns:a16="http://schemas.microsoft.com/office/drawing/2014/main" id="{E6E36957-0327-406B-A8E7-49B216EC9F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21217271">
            <a:off x="2195796" y="3616143"/>
            <a:ext cx="517683" cy="86065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2" name="Grafik 111" descr="Pfeil: Kurve im Uhrzeigersinn">
            <a:extLst>
              <a:ext uri="{FF2B5EF4-FFF2-40B4-BE49-F238E27FC236}">
                <a16:creationId xmlns:a16="http://schemas.microsoft.com/office/drawing/2014/main" id="{A757E43E-9930-4A98-82BB-5E9EEDE482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4095196">
            <a:off x="3371997" y="1134237"/>
            <a:ext cx="517683" cy="86065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3" name="Grafik 112" descr="Pfeil: Kurve im Uhrzeigersinn">
            <a:extLst>
              <a:ext uri="{FF2B5EF4-FFF2-40B4-BE49-F238E27FC236}">
                <a16:creationId xmlns:a16="http://schemas.microsoft.com/office/drawing/2014/main" id="{46324607-0C37-47F3-9780-16CC7AB905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6981364" y="2852144"/>
            <a:ext cx="517683" cy="86065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4" name="Grafik 113" descr="Pfeil: Kurve im Uhrzeigersinn">
            <a:extLst>
              <a:ext uri="{FF2B5EF4-FFF2-40B4-BE49-F238E27FC236}">
                <a16:creationId xmlns:a16="http://schemas.microsoft.com/office/drawing/2014/main" id="{235376E3-F324-4B83-ABC7-AAF98DC62E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4570429">
            <a:off x="6365255" y="4931086"/>
            <a:ext cx="517683" cy="86065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641FF85C-1D85-414C-BCDC-D1427A6531A3}"/>
              </a:ext>
            </a:extLst>
          </p:cNvPr>
          <p:cNvGrpSpPr/>
          <p:nvPr/>
        </p:nvGrpSpPr>
        <p:grpSpPr>
          <a:xfrm>
            <a:off x="4362331" y="89357"/>
            <a:ext cx="914097" cy="874964"/>
            <a:chOff x="5456224" y="245170"/>
            <a:chExt cx="914097" cy="874963"/>
          </a:xfrm>
        </p:grpSpPr>
        <p:pic>
          <p:nvPicPr>
            <p:cNvPr id="122" name="Grafik 121" descr="Dozent">
              <a:extLst>
                <a:ext uri="{FF2B5EF4-FFF2-40B4-BE49-F238E27FC236}">
                  <a16:creationId xmlns:a16="http://schemas.microsoft.com/office/drawing/2014/main" id="{635FFFFF-28CA-41A8-BFCF-107BE32879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602701" y="245170"/>
              <a:ext cx="577735" cy="57773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4597EBB5-CE97-4318-BDFD-441AB4A3F648}"/>
                </a:ext>
              </a:extLst>
            </p:cNvPr>
            <p:cNvSpPr txBox="1"/>
            <p:nvPr/>
          </p:nvSpPr>
          <p:spPr>
            <a:xfrm>
              <a:off x="5456224" y="812356"/>
              <a:ext cx="91409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800"/>
                </a:spcBef>
                <a:buClr>
                  <a:schemeClr val="accent2"/>
                </a:buClr>
              </a:pPr>
              <a:r>
                <a:rPr lang="de-DE" sz="1400" b="1" dirty="0"/>
                <a:t>Manager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EF5667F1-AFFE-435B-A2A6-1D26FD41224B}"/>
              </a:ext>
            </a:extLst>
          </p:cNvPr>
          <p:cNvGrpSpPr/>
          <p:nvPr/>
        </p:nvGrpSpPr>
        <p:grpSpPr>
          <a:xfrm>
            <a:off x="1423735" y="5000791"/>
            <a:ext cx="780766" cy="791809"/>
            <a:chOff x="7438675" y="1360909"/>
            <a:chExt cx="780766" cy="791809"/>
          </a:xfrm>
        </p:grpSpPr>
        <p:pic>
          <p:nvPicPr>
            <p:cNvPr id="125" name="Grafik 124" descr="Krone">
              <a:extLst>
                <a:ext uri="{FF2B5EF4-FFF2-40B4-BE49-F238E27FC236}">
                  <a16:creationId xmlns:a16="http://schemas.microsoft.com/office/drawing/2014/main" id="{27C8723A-6CC7-4F5D-9138-2C67C5EF05A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537664" y="1360909"/>
              <a:ext cx="484032" cy="484032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6F0550BB-86FF-4D93-99DA-53AAC9A5E518}"/>
                </a:ext>
              </a:extLst>
            </p:cNvPr>
            <p:cNvSpPr txBox="1"/>
            <p:nvPr/>
          </p:nvSpPr>
          <p:spPr>
            <a:xfrm>
              <a:off x="7438675" y="1844941"/>
              <a:ext cx="78076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800"/>
                </a:spcBef>
                <a:buClr>
                  <a:schemeClr val="accent2"/>
                </a:buClr>
              </a:pPr>
              <a:r>
                <a:rPr lang="de-DE" sz="1400" b="1" dirty="0"/>
                <a:t>Kunde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2A825D4B-3CD5-474E-9A33-E7634E5BAFF4}"/>
              </a:ext>
            </a:extLst>
          </p:cNvPr>
          <p:cNvGrpSpPr/>
          <p:nvPr/>
        </p:nvGrpSpPr>
        <p:grpSpPr>
          <a:xfrm>
            <a:off x="7632778" y="4579420"/>
            <a:ext cx="780766" cy="801401"/>
            <a:chOff x="6989214" y="1038540"/>
            <a:chExt cx="780766" cy="801401"/>
          </a:xfrm>
        </p:grpSpPr>
        <p:pic>
          <p:nvPicPr>
            <p:cNvPr id="128" name="Grafik 127" descr="Lehrer">
              <a:extLst>
                <a:ext uri="{FF2B5EF4-FFF2-40B4-BE49-F238E27FC236}">
                  <a16:creationId xmlns:a16="http://schemas.microsoft.com/office/drawing/2014/main" id="{86D306A7-709B-44FB-B265-4D9BBEF587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057220" y="1038540"/>
              <a:ext cx="577734" cy="57773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CB748C04-19B8-42DC-B784-C95372E249E7}"/>
                </a:ext>
              </a:extLst>
            </p:cNvPr>
            <p:cNvSpPr txBox="1"/>
            <p:nvPr/>
          </p:nvSpPr>
          <p:spPr>
            <a:xfrm>
              <a:off x="6989214" y="1532164"/>
              <a:ext cx="78076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800"/>
                </a:spcBef>
                <a:buClr>
                  <a:schemeClr val="accent2"/>
                </a:buClr>
              </a:pPr>
              <a:r>
                <a:rPr lang="de-DE" sz="1400" b="1" dirty="0"/>
                <a:t>Nutz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28919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N Master 4:3">
  <a:themeElements>
    <a:clrScheme name="MAN 2016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MAN 2016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accent4"/>
          </a:solidFill>
        </a:ln>
      </a:spPr>
      <a:bodyPr rtlCol="0" anchor="ctr"/>
      <a:lstStyle>
        <a:defPPr marL="180000" indent="-180000">
          <a:spcBef>
            <a:spcPts val="800"/>
          </a:spcBef>
          <a:buClr>
            <a:schemeClr val="accent2"/>
          </a:buClr>
          <a:buFont typeface="Wingdings" panose="05000000000000000000" pitchFamily="2" charset="2"/>
          <a:buChar char="§"/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180000" indent="-180000">
          <a:spcBef>
            <a:spcPts val="800"/>
          </a:spcBef>
          <a:buClr>
            <a:schemeClr val="accent2"/>
          </a:buClr>
          <a:buFont typeface="Wingdings" panose="05000000000000000000" pitchFamily="2" charset="2"/>
          <a:buChar char="§"/>
          <a:defRPr sz="16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N_Master_4_3_scr10.potx" id="{C288623E-8F17-4EFD-8BE1-D18C2C62AA48}" vid="{D31812F6-D9C9-4CD9-8518-21B95C1A9E66}"/>
    </a:ext>
  </a:extLst>
</a:theme>
</file>

<file path=ppt/theme/theme2.xml><?xml version="1.0" encoding="utf-8"?>
<a:theme xmlns:a="http://schemas.openxmlformats.org/drawingml/2006/main" name="Larissa">
  <a:themeElements>
    <a:clrScheme name="MAN 2016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MAN 2016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MAN 2016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0</Words>
  <Application>Microsoft Office PowerPoint</Application>
  <PresentationFormat>Bildschirmpräsentation (4:3)</PresentationFormat>
  <Paragraphs>21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9" baseType="lpstr">
      <vt:lpstr>Arial</vt:lpstr>
      <vt:lpstr>Arial Narrow</vt:lpstr>
      <vt:lpstr>Symbol</vt:lpstr>
      <vt:lpstr>Wingdings</vt:lpstr>
      <vt:lpstr>MAN Master 4:3</vt:lpstr>
      <vt:lpstr>think-cell Folie</vt:lpstr>
      <vt:lpstr>MAN  Truck &amp; Bus AG</vt:lpstr>
      <vt:lpstr>Rollen im Projekt</vt:lpstr>
      <vt:lpstr>„SCRUM of Scrum“ Komplexe Projekte</vt:lpstr>
    </vt:vector>
  </TitlesOfParts>
  <Company>MAN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owerPoint-Master</dc:subject>
  <dc:creator>Vorname, Name</dc:creator>
  <dc:description>Optimiert für 2010</dc:description>
  <cp:lastModifiedBy>Johanns Varela</cp:lastModifiedBy>
  <cp:revision>436</cp:revision>
  <cp:lastPrinted>2016-04-12T08:56:10Z</cp:lastPrinted>
  <dcterms:created xsi:type="dcterms:W3CDTF">2015-03-02T12:07:45Z</dcterms:created>
  <dcterms:modified xsi:type="dcterms:W3CDTF">2017-11-07T15:56:06Z</dcterms:modified>
  <cp:category>PowerPoint-Master</cp:category>
</cp:coreProperties>
</file>